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</p:sldMasterIdLst>
  <p:notesMasterIdLst>
    <p:notesMasterId r:id="rId19"/>
  </p:notesMasterIdLst>
  <p:sldIdLst>
    <p:sldId id="339" r:id="rId3"/>
    <p:sldId id="419" r:id="rId4"/>
    <p:sldId id="434" r:id="rId5"/>
    <p:sldId id="350" r:id="rId6"/>
    <p:sldId id="489" r:id="rId7"/>
    <p:sldId id="371" r:id="rId8"/>
    <p:sldId id="490" r:id="rId9"/>
    <p:sldId id="488" r:id="rId10"/>
    <p:sldId id="436" r:id="rId11"/>
    <p:sldId id="369" r:id="rId12"/>
    <p:sldId id="364" r:id="rId13"/>
    <p:sldId id="435" r:id="rId14"/>
    <p:sldId id="351" r:id="rId15"/>
    <p:sldId id="374" r:id="rId16"/>
    <p:sldId id="452" r:id="rId17"/>
    <p:sldId id="360" r:id="rId18"/>
  </p:sldIdLst>
  <p:sldSz cx="9144000" cy="6858000" type="screen4x3"/>
  <p:notesSz cx="6858000" cy="9236075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793">
          <p15:clr>
            <a:srgbClr val="A4A3A4"/>
          </p15:clr>
        </p15:guide>
        <p15:guide id="3" orient="horz" pos="1842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709">
          <p15:clr>
            <a:srgbClr val="A4A3A4"/>
          </p15:clr>
        </p15:guide>
        <p15:guide id="6" pos="2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CFCF"/>
    <a:srgbClr val="E7EDED"/>
    <a:srgbClr val="597B7C"/>
    <a:srgbClr val="E87D1E"/>
    <a:srgbClr val="314545"/>
    <a:srgbClr val="78B832"/>
    <a:srgbClr val="8A2404"/>
    <a:srgbClr val="4A65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67" autoAdjust="0"/>
    <p:restoredTop sz="99034" autoAdjust="0"/>
  </p:normalViewPr>
  <p:slideViewPr>
    <p:cSldViewPr showGuides="1">
      <p:cViewPr varScale="1">
        <p:scale>
          <a:sx n="114" d="100"/>
          <a:sy n="114" d="100"/>
        </p:scale>
        <p:origin x="216" y="108"/>
      </p:cViewPr>
      <p:guideLst>
        <p:guide orient="horz"/>
        <p:guide orient="horz" pos="3793"/>
        <p:guide orient="horz" pos="1842"/>
        <p:guide orient="horz" pos="436"/>
        <p:guide orient="horz" pos="709"/>
        <p:guide pos="2608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25" d="100"/>
        <a:sy n="125" d="100"/>
      </p:scale>
      <p:origin x="0" y="91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goldbergerr\Documents\Presentaciones\Reunion%20Clientes\eplu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goldbergerr\Documents\Presentaciones\Reunion%20Clientes\eplu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E7EDED"/>
              </a:solidFill>
            </c:spPr>
            <c:extLst>
              <c:ext xmlns:c16="http://schemas.microsoft.com/office/drawing/2014/chart" uri="{C3380CC4-5D6E-409C-BE32-E72D297353CC}">
                <c16:uniqueId val="{00000001-2E97-4C59-AA14-FAF2DD1C8DA5}"/>
              </c:ext>
            </c:extLst>
          </c:dPt>
          <c:dPt>
            <c:idx val="1"/>
            <c:bubble3D val="0"/>
            <c:spPr>
              <a:solidFill>
                <a:srgbClr val="E87D1E"/>
              </a:solidFill>
            </c:spPr>
            <c:extLst>
              <c:ext xmlns:c16="http://schemas.microsoft.com/office/drawing/2014/chart" uri="{C3380CC4-5D6E-409C-BE32-E72D297353CC}">
                <c16:uniqueId val="{00000003-2E97-4C59-AA14-FAF2DD1C8DA5}"/>
              </c:ext>
            </c:extLst>
          </c:dPt>
          <c:dPt>
            <c:idx val="2"/>
            <c:bubble3D val="0"/>
            <c:spPr>
              <a:solidFill>
                <a:srgbClr val="4A6566"/>
              </a:solidFill>
            </c:spPr>
            <c:extLst>
              <c:ext xmlns:c16="http://schemas.microsoft.com/office/drawing/2014/chart" uri="{C3380CC4-5D6E-409C-BE32-E72D297353CC}">
                <c16:uniqueId val="{00000005-2E97-4C59-AA14-FAF2DD1C8DA5}"/>
              </c:ext>
            </c:extLst>
          </c:dPt>
          <c:dPt>
            <c:idx val="3"/>
            <c:bubble3D val="0"/>
            <c:spPr>
              <a:solidFill>
                <a:srgbClr val="597B7C"/>
              </a:solidFill>
            </c:spPr>
            <c:extLst>
              <c:ext xmlns:c16="http://schemas.microsoft.com/office/drawing/2014/chart" uri="{C3380CC4-5D6E-409C-BE32-E72D297353CC}">
                <c16:uniqueId val="{00000007-2E97-4C59-AA14-FAF2DD1C8DA5}"/>
              </c:ext>
            </c:extLst>
          </c:dPt>
          <c:dPt>
            <c:idx val="4"/>
            <c:bubble3D val="0"/>
            <c:spPr>
              <a:solidFill>
                <a:srgbClr val="BBCFCF"/>
              </a:solidFill>
            </c:spPr>
            <c:extLst>
              <c:ext xmlns:c16="http://schemas.microsoft.com/office/drawing/2014/chart" uri="{C3380CC4-5D6E-409C-BE32-E72D297353CC}">
                <c16:uniqueId val="{00000009-2E97-4C59-AA14-FAF2DD1C8DA5}"/>
              </c:ext>
            </c:extLst>
          </c:dPt>
          <c:dLbls>
            <c:dLbl>
              <c:idx val="0"/>
              <c:layout>
                <c:manualLayout>
                  <c:x val="7.4608599182834107E-2"/>
                  <c:y val="8.8626278722900749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97-4C59-AA14-FAF2DD1C8DA5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2E97-4C59-AA14-FAF2DD1C8DA5}"/>
                </c:ext>
              </c:extLst>
            </c:dLbl>
            <c:dLbl>
              <c:idx val="2"/>
              <c:layout>
                <c:manualLayout>
                  <c:x val="-8.7571231431122651E-2"/>
                  <c:y val="-0.17426237038309814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E97-4C59-AA14-FAF2DD1C8DA5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2E97-4C59-AA14-FAF2DD1C8DA5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rgbClr val="4A6566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2E97-4C59-AA14-FAF2DD1C8D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Hoja1!$B$3:$B$7</c:f>
              <c:strCache>
                <c:ptCount val="5"/>
                <c:pt idx="0">
                  <c:v>Corporativo CLP</c:v>
                </c:pt>
                <c:pt idx="1">
                  <c:v>Corporativo UF</c:v>
                </c:pt>
                <c:pt idx="2">
                  <c:v>IF CLP</c:v>
                </c:pt>
                <c:pt idx="3">
                  <c:v>Gobierno CLP</c:v>
                </c:pt>
                <c:pt idx="4">
                  <c:v>Gobierno UF</c:v>
                </c:pt>
              </c:strCache>
            </c:strRef>
          </c:cat>
          <c:val>
            <c:numRef>
              <c:f>Hoja1!$C$3:$C$7</c:f>
              <c:numCache>
                <c:formatCode>General</c:formatCode>
                <c:ptCount val="5"/>
                <c:pt idx="0">
                  <c:v>6</c:v>
                </c:pt>
                <c:pt idx="1">
                  <c:v>30</c:v>
                </c:pt>
                <c:pt idx="2">
                  <c:v>20</c:v>
                </c:pt>
                <c:pt idx="3">
                  <c:v>17</c:v>
                </c:pt>
                <c:pt idx="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E97-4C59-AA14-FAF2DD1C8DA5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s-MX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E7EDED"/>
              </a:solidFill>
            </c:spPr>
            <c:extLst>
              <c:ext xmlns:c16="http://schemas.microsoft.com/office/drawing/2014/chart" uri="{C3380CC4-5D6E-409C-BE32-E72D297353CC}">
                <c16:uniqueId val="{00000001-B659-4347-A887-6D00EAF16417}"/>
              </c:ext>
            </c:extLst>
          </c:dPt>
          <c:dPt>
            <c:idx val="1"/>
            <c:bubble3D val="0"/>
            <c:spPr>
              <a:solidFill>
                <a:srgbClr val="E87D1E"/>
              </a:solidFill>
            </c:spPr>
            <c:extLst>
              <c:ext xmlns:c16="http://schemas.microsoft.com/office/drawing/2014/chart" uri="{C3380CC4-5D6E-409C-BE32-E72D297353CC}">
                <c16:uniqueId val="{00000003-B659-4347-A887-6D00EAF16417}"/>
              </c:ext>
            </c:extLst>
          </c:dPt>
          <c:dPt>
            <c:idx val="2"/>
            <c:bubble3D val="0"/>
            <c:spPr>
              <a:solidFill>
                <a:srgbClr val="4A6566"/>
              </a:solidFill>
            </c:spPr>
            <c:extLst>
              <c:ext xmlns:c16="http://schemas.microsoft.com/office/drawing/2014/chart" uri="{C3380CC4-5D6E-409C-BE32-E72D297353CC}">
                <c16:uniqueId val="{00000005-B659-4347-A887-6D00EAF16417}"/>
              </c:ext>
            </c:extLst>
          </c:dPt>
          <c:dPt>
            <c:idx val="3"/>
            <c:bubble3D val="0"/>
            <c:spPr>
              <a:solidFill>
                <a:srgbClr val="597B7C"/>
              </a:solidFill>
            </c:spPr>
            <c:extLst>
              <c:ext xmlns:c16="http://schemas.microsoft.com/office/drawing/2014/chart" uri="{C3380CC4-5D6E-409C-BE32-E72D297353CC}">
                <c16:uniqueId val="{00000007-B659-4347-A887-6D00EAF16417}"/>
              </c:ext>
            </c:extLst>
          </c:dPt>
          <c:dPt>
            <c:idx val="4"/>
            <c:bubble3D val="0"/>
            <c:spPr>
              <a:solidFill>
                <a:srgbClr val="BBCFCF"/>
              </a:solidFill>
            </c:spPr>
            <c:extLst>
              <c:ext xmlns:c16="http://schemas.microsoft.com/office/drawing/2014/chart" uri="{C3380CC4-5D6E-409C-BE32-E72D297353CC}">
                <c16:uniqueId val="{00000009-B659-4347-A887-6D00EAF16417}"/>
              </c:ext>
            </c:extLst>
          </c:dPt>
          <c:dLbls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659-4347-A887-6D00EAF16417}"/>
                </c:ext>
              </c:extLst>
            </c:dLbl>
            <c:dLbl>
              <c:idx val="2"/>
              <c:layout>
                <c:manualLayout>
                  <c:x val="1.505398165435506E-3"/>
                  <c:y val="5.752659641283004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659-4347-A887-6D00EAF16417}"/>
                </c:ext>
              </c:extLst>
            </c:dLbl>
            <c:dLbl>
              <c:idx val="3"/>
              <c:layout>
                <c:manualLayout>
                  <c:x val="-0.12584625375436323"/>
                  <c:y val="-0.17872981716778638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659-4347-A887-6D00EAF16417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rgbClr val="4A6566"/>
                      </a:solidFill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B659-4347-A887-6D00EAF164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Hoja1!$B$3:$B$7</c:f>
              <c:strCache>
                <c:ptCount val="5"/>
                <c:pt idx="0">
                  <c:v>Corporativo CLP</c:v>
                </c:pt>
                <c:pt idx="1">
                  <c:v>Corporativo UF</c:v>
                </c:pt>
                <c:pt idx="2">
                  <c:v>IF CLP</c:v>
                </c:pt>
                <c:pt idx="3">
                  <c:v>Gobierno CLP</c:v>
                </c:pt>
                <c:pt idx="4">
                  <c:v>Gobierno UF</c:v>
                </c:pt>
              </c:strCache>
            </c:strRef>
          </c:cat>
          <c:val>
            <c:numRef>
              <c:f>Hoja1!$D$3:$D$7</c:f>
              <c:numCache>
                <c:formatCode>General</c:formatCode>
                <c:ptCount val="5"/>
                <c:pt idx="0">
                  <c:v>4</c:v>
                </c:pt>
                <c:pt idx="1">
                  <c:v>26</c:v>
                </c:pt>
                <c:pt idx="2">
                  <c:v>3</c:v>
                </c:pt>
                <c:pt idx="3">
                  <c:v>22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659-4347-A887-6D00EAF1641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s-MX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s-MX" dirty="0"/>
              <a:t>YT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s-MX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eplus_yld!$B$1</c:f>
              <c:strCache>
                <c:ptCount val="1"/>
                <c:pt idx="0">
                  <c:v>Max</c:v>
                </c:pt>
              </c:strCache>
            </c:strRef>
          </c:tx>
          <c:spPr>
            <a:solidFill>
              <a:schemeClr val="accent3"/>
            </a:solidFill>
            <a:ln w="31750">
              <a:noFill/>
            </a:ln>
            <a:effectLst/>
          </c:spPr>
          <c:cat>
            <c:numRef>
              <c:f>eplus_yld!$A$2:$A$500</c:f>
              <c:numCache>
                <c:formatCode>m/d/yyyy</c:formatCode>
                <c:ptCount val="499"/>
                <c:pt idx="0">
                  <c:v>43099</c:v>
                </c:pt>
                <c:pt idx="1">
                  <c:v>43100</c:v>
                </c:pt>
                <c:pt idx="2">
                  <c:v>43101</c:v>
                </c:pt>
                <c:pt idx="3">
                  <c:v>43102</c:v>
                </c:pt>
                <c:pt idx="4">
                  <c:v>43103</c:v>
                </c:pt>
                <c:pt idx="5">
                  <c:v>43104</c:v>
                </c:pt>
                <c:pt idx="6">
                  <c:v>43105</c:v>
                </c:pt>
                <c:pt idx="7">
                  <c:v>43106</c:v>
                </c:pt>
                <c:pt idx="8">
                  <c:v>43107</c:v>
                </c:pt>
                <c:pt idx="9">
                  <c:v>43108</c:v>
                </c:pt>
                <c:pt idx="10">
                  <c:v>43109</c:v>
                </c:pt>
                <c:pt idx="11">
                  <c:v>43110</c:v>
                </c:pt>
                <c:pt idx="12">
                  <c:v>43111</c:v>
                </c:pt>
                <c:pt idx="13">
                  <c:v>43112</c:v>
                </c:pt>
                <c:pt idx="14">
                  <c:v>43113</c:v>
                </c:pt>
                <c:pt idx="15">
                  <c:v>43114</c:v>
                </c:pt>
                <c:pt idx="16">
                  <c:v>43115</c:v>
                </c:pt>
                <c:pt idx="17">
                  <c:v>43116</c:v>
                </c:pt>
                <c:pt idx="18">
                  <c:v>43117</c:v>
                </c:pt>
                <c:pt idx="19">
                  <c:v>43118</c:v>
                </c:pt>
                <c:pt idx="20">
                  <c:v>43119</c:v>
                </c:pt>
                <c:pt idx="21">
                  <c:v>43120</c:v>
                </c:pt>
                <c:pt idx="22">
                  <c:v>43121</c:v>
                </c:pt>
                <c:pt idx="23">
                  <c:v>43122</c:v>
                </c:pt>
                <c:pt idx="24">
                  <c:v>43123</c:v>
                </c:pt>
                <c:pt idx="25">
                  <c:v>43124</c:v>
                </c:pt>
                <c:pt idx="26">
                  <c:v>43125</c:v>
                </c:pt>
                <c:pt idx="27">
                  <c:v>43126</c:v>
                </c:pt>
                <c:pt idx="28">
                  <c:v>43127</c:v>
                </c:pt>
                <c:pt idx="29">
                  <c:v>43128</c:v>
                </c:pt>
                <c:pt idx="30">
                  <c:v>43129</c:v>
                </c:pt>
                <c:pt idx="31">
                  <c:v>43130</c:v>
                </c:pt>
                <c:pt idx="32">
                  <c:v>43131</c:v>
                </c:pt>
                <c:pt idx="33">
                  <c:v>43132</c:v>
                </c:pt>
                <c:pt idx="34">
                  <c:v>43133</c:v>
                </c:pt>
                <c:pt idx="35">
                  <c:v>43134</c:v>
                </c:pt>
                <c:pt idx="36">
                  <c:v>43135</c:v>
                </c:pt>
                <c:pt idx="37">
                  <c:v>43136</c:v>
                </c:pt>
                <c:pt idx="38">
                  <c:v>43137</c:v>
                </c:pt>
                <c:pt idx="39">
                  <c:v>43138</c:v>
                </c:pt>
                <c:pt idx="40">
                  <c:v>43139</c:v>
                </c:pt>
                <c:pt idx="41">
                  <c:v>43140</c:v>
                </c:pt>
                <c:pt idx="42">
                  <c:v>43141</c:v>
                </c:pt>
                <c:pt idx="43">
                  <c:v>43142</c:v>
                </c:pt>
                <c:pt idx="44">
                  <c:v>43143</c:v>
                </c:pt>
                <c:pt idx="45">
                  <c:v>43144</c:v>
                </c:pt>
                <c:pt idx="46">
                  <c:v>43145</c:v>
                </c:pt>
                <c:pt idx="47">
                  <c:v>43146</c:v>
                </c:pt>
                <c:pt idx="48">
                  <c:v>43147</c:v>
                </c:pt>
                <c:pt idx="49">
                  <c:v>43148</c:v>
                </c:pt>
                <c:pt idx="50">
                  <c:v>43149</c:v>
                </c:pt>
                <c:pt idx="51">
                  <c:v>43150</c:v>
                </c:pt>
                <c:pt idx="52">
                  <c:v>43151</c:v>
                </c:pt>
                <c:pt idx="53">
                  <c:v>43152</c:v>
                </c:pt>
                <c:pt idx="54">
                  <c:v>43153</c:v>
                </c:pt>
                <c:pt idx="55">
                  <c:v>43154</c:v>
                </c:pt>
                <c:pt idx="56">
                  <c:v>43155</c:v>
                </c:pt>
                <c:pt idx="57">
                  <c:v>43156</c:v>
                </c:pt>
                <c:pt idx="58">
                  <c:v>43157</c:v>
                </c:pt>
                <c:pt idx="59">
                  <c:v>43158</c:v>
                </c:pt>
                <c:pt idx="60">
                  <c:v>43159</c:v>
                </c:pt>
                <c:pt idx="61">
                  <c:v>43160</c:v>
                </c:pt>
                <c:pt idx="62">
                  <c:v>43161</c:v>
                </c:pt>
                <c:pt idx="63">
                  <c:v>43162</c:v>
                </c:pt>
                <c:pt idx="64">
                  <c:v>43163</c:v>
                </c:pt>
                <c:pt idx="65">
                  <c:v>43164</c:v>
                </c:pt>
                <c:pt idx="66">
                  <c:v>43165</c:v>
                </c:pt>
                <c:pt idx="67">
                  <c:v>43166</c:v>
                </c:pt>
                <c:pt idx="68">
                  <c:v>43167</c:v>
                </c:pt>
                <c:pt idx="69">
                  <c:v>43168</c:v>
                </c:pt>
                <c:pt idx="70">
                  <c:v>43169</c:v>
                </c:pt>
                <c:pt idx="71">
                  <c:v>43170</c:v>
                </c:pt>
                <c:pt idx="72">
                  <c:v>43171</c:v>
                </c:pt>
                <c:pt idx="73">
                  <c:v>43172</c:v>
                </c:pt>
                <c:pt idx="74">
                  <c:v>43173</c:v>
                </c:pt>
                <c:pt idx="75">
                  <c:v>43174</c:v>
                </c:pt>
                <c:pt idx="76">
                  <c:v>43175</c:v>
                </c:pt>
                <c:pt idx="77">
                  <c:v>43176</c:v>
                </c:pt>
                <c:pt idx="78">
                  <c:v>43177</c:v>
                </c:pt>
                <c:pt idx="79">
                  <c:v>43178</c:v>
                </c:pt>
                <c:pt idx="80">
                  <c:v>43179</c:v>
                </c:pt>
                <c:pt idx="81">
                  <c:v>43180</c:v>
                </c:pt>
                <c:pt idx="82">
                  <c:v>43181</c:v>
                </c:pt>
                <c:pt idx="83">
                  <c:v>43182</c:v>
                </c:pt>
                <c:pt idx="84">
                  <c:v>43183</c:v>
                </c:pt>
                <c:pt idx="85">
                  <c:v>43184</c:v>
                </c:pt>
                <c:pt idx="86">
                  <c:v>43185</c:v>
                </c:pt>
                <c:pt idx="87">
                  <c:v>43186</c:v>
                </c:pt>
                <c:pt idx="88">
                  <c:v>43187</c:v>
                </c:pt>
                <c:pt idx="89">
                  <c:v>43188</c:v>
                </c:pt>
                <c:pt idx="90">
                  <c:v>43189</c:v>
                </c:pt>
                <c:pt idx="91">
                  <c:v>43190</c:v>
                </c:pt>
                <c:pt idx="92">
                  <c:v>43191</c:v>
                </c:pt>
                <c:pt idx="93">
                  <c:v>43192</c:v>
                </c:pt>
                <c:pt idx="94">
                  <c:v>43193</c:v>
                </c:pt>
                <c:pt idx="95">
                  <c:v>43194</c:v>
                </c:pt>
                <c:pt idx="96">
                  <c:v>43195</c:v>
                </c:pt>
                <c:pt idx="97">
                  <c:v>43196</c:v>
                </c:pt>
                <c:pt idx="98">
                  <c:v>43197</c:v>
                </c:pt>
                <c:pt idx="99">
                  <c:v>43198</c:v>
                </c:pt>
                <c:pt idx="100">
                  <c:v>43199</c:v>
                </c:pt>
                <c:pt idx="101">
                  <c:v>43200</c:v>
                </c:pt>
                <c:pt idx="102">
                  <c:v>43201</c:v>
                </c:pt>
                <c:pt idx="103">
                  <c:v>43202</c:v>
                </c:pt>
                <c:pt idx="104">
                  <c:v>43203</c:v>
                </c:pt>
                <c:pt idx="105">
                  <c:v>43204</c:v>
                </c:pt>
                <c:pt idx="106">
                  <c:v>43205</c:v>
                </c:pt>
                <c:pt idx="107">
                  <c:v>43206</c:v>
                </c:pt>
                <c:pt idx="108">
                  <c:v>43207</c:v>
                </c:pt>
                <c:pt idx="109">
                  <c:v>43208</c:v>
                </c:pt>
                <c:pt idx="110">
                  <c:v>43209</c:v>
                </c:pt>
                <c:pt idx="111">
                  <c:v>43210</c:v>
                </c:pt>
                <c:pt idx="112">
                  <c:v>43211</c:v>
                </c:pt>
                <c:pt idx="113">
                  <c:v>43212</c:v>
                </c:pt>
                <c:pt idx="114">
                  <c:v>43213</c:v>
                </c:pt>
                <c:pt idx="115">
                  <c:v>43214</c:v>
                </c:pt>
                <c:pt idx="116">
                  <c:v>43215</c:v>
                </c:pt>
                <c:pt idx="117">
                  <c:v>43216</c:v>
                </c:pt>
                <c:pt idx="118">
                  <c:v>43217</c:v>
                </c:pt>
                <c:pt idx="119">
                  <c:v>43218</c:v>
                </c:pt>
                <c:pt idx="120">
                  <c:v>43219</c:v>
                </c:pt>
                <c:pt idx="121">
                  <c:v>43220</c:v>
                </c:pt>
                <c:pt idx="122">
                  <c:v>43221</c:v>
                </c:pt>
                <c:pt idx="123">
                  <c:v>43222</c:v>
                </c:pt>
                <c:pt idx="124">
                  <c:v>43223</c:v>
                </c:pt>
                <c:pt idx="125">
                  <c:v>43224</c:v>
                </c:pt>
                <c:pt idx="126">
                  <c:v>43225</c:v>
                </c:pt>
                <c:pt idx="127">
                  <c:v>43226</c:v>
                </c:pt>
                <c:pt idx="128">
                  <c:v>43098</c:v>
                </c:pt>
              </c:numCache>
            </c:numRef>
          </c:cat>
          <c:val>
            <c:numRef>
              <c:f>eplus_yld!$B$2:$B$500</c:f>
              <c:numCache>
                <c:formatCode>General</c:formatCode>
                <c:ptCount val="499"/>
                <c:pt idx="0">
                  <c:v>100</c:v>
                </c:pt>
                <c:pt idx="1">
                  <c:v>100.08320584422793</c:v>
                </c:pt>
                <c:pt idx="2">
                  <c:v>100.1820239815185</c:v>
                </c:pt>
                <c:pt idx="3">
                  <c:v>100.17155236071605</c:v>
                </c:pt>
                <c:pt idx="4">
                  <c:v>100.2194118505593</c:v>
                </c:pt>
                <c:pt idx="5">
                  <c:v>100.17505528453086</c:v>
                </c:pt>
                <c:pt idx="6">
                  <c:v>100.17505528453086</c:v>
                </c:pt>
                <c:pt idx="7">
                  <c:v>100.17505528453086</c:v>
                </c:pt>
                <c:pt idx="8">
                  <c:v>100.30036430874243</c:v>
                </c:pt>
                <c:pt idx="9">
                  <c:v>100.3077602930541</c:v>
                </c:pt>
                <c:pt idx="10">
                  <c:v>100.33168508476771</c:v>
                </c:pt>
                <c:pt idx="11">
                  <c:v>100.0681339113401</c:v>
                </c:pt>
                <c:pt idx="12">
                  <c:v>100.08622434692128</c:v>
                </c:pt>
                <c:pt idx="13">
                  <c:v>100.08622434692128</c:v>
                </c:pt>
                <c:pt idx="14">
                  <c:v>100.08622434692128</c:v>
                </c:pt>
                <c:pt idx="15">
                  <c:v>100.08622434692128</c:v>
                </c:pt>
                <c:pt idx="16">
                  <c:v>100.12928507111582</c:v>
                </c:pt>
                <c:pt idx="17">
                  <c:v>100.18117344007668</c:v>
                </c:pt>
                <c:pt idx="18">
                  <c:v>100.4313075835945</c:v>
                </c:pt>
                <c:pt idx="19">
                  <c:v>100.43111465636197</c:v>
                </c:pt>
                <c:pt idx="20">
                  <c:v>100.43111465636197</c:v>
                </c:pt>
                <c:pt idx="21">
                  <c:v>100.43111465636197</c:v>
                </c:pt>
                <c:pt idx="22">
                  <c:v>100.47934655754776</c:v>
                </c:pt>
                <c:pt idx="23">
                  <c:v>100.50044817201409</c:v>
                </c:pt>
                <c:pt idx="24">
                  <c:v>100.58701263954484</c:v>
                </c:pt>
                <c:pt idx="25">
                  <c:v>100.64394772666598</c:v>
                </c:pt>
                <c:pt idx="26">
                  <c:v>100.75951326624319</c:v>
                </c:pt>
                <c:pt idx="27">
                  <c:v>100.75951326624319</c:v>
                </c:pt>
                <c:pt idx="28">
                  <c:v>100.75951326624319</c:v>
                </c:pt>
                <c:pt idx="29">
                  <c:v>100.82786052084278</c:v>
                </c:pt>
                <c:pt idx="30">
                  <c:v>100.71964474154368</c:v>
                </c:pt>
                <c:pt idx="31">
                  <c:v>100.65706882324137</c:v>
                </c:pt>
                <c:pt idx="32">
                  <c:v>100.63322723697019</c:v>
                </c:pt>
                <c:pt idx="33">
                  <c:v>100.56960700656208</c:v>
                </c:pt>
                <c:pt idx="34">
                  <c:v>100.56960700656208</c:v>
                </c:pt>
                <c:pt idx="35">
                  <c:v>100.56960700656208</c:v>
                </c:pt>
                <c:pt idx="36">
                  <c:v>100.37980830162996</c:v>
                </c:pt>
                <c:pt idx="37">
                  <c:v>100.22795083972601</c:v>
                </c:pt>
                <c:pt idx="38">
                  <c:v>100.35620553742716</c:v>
                </c:pt>
                <c:pt idx="39">
                  <c:v>100.24171300605825</c:v>
                </c:pt>
                <c:pt idx="40">
                  <c:v>100.38557950236783</c:v>
                </c:pt>
                <c:pt idx="41">
                  <c:v>100.38557950236783</c:v>
                </c:pt>
                <c:pt idx="42">
                  <c:v>100.38557950236783</c:v>
                </c:pt>
                <c:pt idx="43">
                  <c:v>100.47748318245809</c:v>
                </c:pt>
                <c:pt idx="44">
                  <c:v>100.48379179887105</c:v>
                </c:pt>
                <c:pt idx="45">
                  <c:v>100.49414939772623</c:v>
                </c:pt>
                <c:pt idx="46">
                  <c:v>100.6147281711183</c:v>
                </c:pt>
                <c:pt idx="47">
                  <c:v>100.60595763674254</c:v>
                </c:pt>
                <c:pt idx="48">
                  <c:v>100.60595763674254</c:v>
                </c:pt>
                <c:pt idx="49">
                  <c:v>100.60595763674254</c:v>
                </c:pt>
                <c:pt idx="50">
                  <c:v>100.6718346051166</c:v>
                </c:pt>
                <c:pt idx="51">
                  <c:v>100.75846330361713</c:v>
                </c:pt>
                <c:pt idx="52">
                  <c:v>100.83544599450258</c:v>
                </c:pt>
                <c:pt idx="53">
                  <c:v>100.93742331134349</c:v>
                </c:pt>
                <c:pt idx="54">
                  <c:v>100.98088747959288</c:v>
                </c:pt>
                <c:pt idx="55">
                  <c:v>100.98088747959288</c:v>
                </c:pt>
                <c:pt idx="56">
                  <c:v>100.98088747959288</c:v>
                </c:pt>
                <c:pt idx="57">
                  <c:v>101.02027604408119</c:v>
                </c:pt>
                <c:pt idx="58">
                  <c:v>101.0331200275991</c:v>
                </c:pt>
                <c:pt idx="59">
                  <c:v>100.90914019904115</c:v>
                </c:pt>
                <c:pt idx="60">
                  <c:v>100.92114128097677</c:v>
                </c:pt>
                <c:pt idx="61">
                  <c:v>100.95549610825323</c:v>
                </c:pt>
                <c:pt idx="62">
                  <c:v>100.95549610825323</c:v>
                </c:pt>
                <c:pt idx="63">
                  <c:v>100.95549610825323</c:v>
                </c:pt>
                <c:pt idx="64">
                  <c:v>101.03415363230383</c:v>
                </c:pt>
                <c:pt idx="65">
                  <c:v>101.08406508733684</c:v>
                </c:pt>
                <c:pt idx="66">
                  <c:v>101.0712461037066</c:v>
                </c:pt>
                <c:pt idx="67">
                  <c:v>101.10357296100646</c:v>
                </c:pt>
                <c:pt idx="68">
                  <c:v>101.00104108950364</c:v>
                </c:pt>
                <c:pt idx="69">
                  <c:v>101.00104108950364</c:v>
                </c:pt>
                <c:pt idx="70">
                  <c:v>101.00104108950364</c:v>
                </c:pt>
                <c:pt idx="71">
                  <c:v>100.99227810539796</c:v>
                </c:pt>
                <c:pt idx="72">
                  <c:v>101.17374549859893</c:v>
                </c:pt>
                <c:pt idx="73">
                  <c:v>101.19210556490469</c:v>
                </c:pt>
                <c:pt idx="74">
                  <c:v>101.22732632970593</c:v>
                </c:pt>
                <c:pt idx="75">
                  <c:v>101.29771688077572</c:v>
                </c:pt>
                <c:pt idx="76">
                  <c:v>101.29771688077572</c:v>
                </c:pt>
                <c:pt idx="77">
                  <c:v>101.29771688077572</c:v>
                </c:pt>
                <c:pt idx="78">
                  <c:v>101.44323833570775</c:v>
                </c:pt>
                <c:pt idx="79">
                  <c:v>101.44342118129178</c:v>
                </c:pt>
                <c:pt idx="80">
                  <c:v>101.3761863708997</c:v>
                </c:pt>
                <c:pt idx="81">
                  <c:v>101.32273349829791</c:v>
                </c:pt>
                <c:pt idx="82">
                  <c:v>101.28774171665917</c:v>
                </c:pt>
                <c:pt idx="83">
                  <c:v>101.28774171665917</c:v>
                </c:pt>
                <c:pt idx="84">
                  <c:v>101.28774171665917</c:v>
                </c:pt>
                <c:pt idx="85">
                  <c:v>101.35272677715884</c:v>
                </c:pt>
                <c:pt idx="86">
                  <c:v>101.47803721003018</c:v>
                </c:pt>
                <c:pt idx="87">
                  <c:v>101.53516971200031</c:v>
                </c:pt>
                <c:pt idx="88">
                  <c:v>101.53516971200031</c:v>
                </c:pt>
                <c:pt idx="89">
                  <c:v>101.65479761285948</c:v>
                </c:pt>
                <c:pt idx="90">
                  <c:v>101.65479761285948</c:v>
                </c:pt>
                <c:pt idx="91">
                  <c:v>101.65479761285948</c:v>
                </c:pt>
                <c:pt idx="92">
                  <c:v>101.75483759757456</c:v>
                </c:pt>
                <c:pt idx="93">
                  <c:v>101.72236620989275</c:v>
                </c:pt>
                <c:pt idx="94">
                  <c:v>101.77177938609724</c:v>
                </c:pt>
                <c:pt idx="95">
                  <c:v>101.91312447900906</c:v>
                </c:pt>
                <c:pt idx="96">
                  <c:v>101.98001849346366</c:v>
                </c:pt>
                <c:pt idx="97">
                  <c:v>101.98001849346366</c:v>
                </c:pt>
                <c:pt idx="98">
                  <c:v>101.98001849346366</c:v>
                </c:pt>
                <c:pt idx="99">
                  <c:v>101.89856783515529</c:v>
                </c:pt>
                <c:pt idx="100">
                  <c:v>101.94167956604448</c:v>
                </c:pt>
                <c:pt idx="101">
                  <c:v>102.05765160903681</c:v>
                </c:pt>
                <c:pt idx="102">
                  <c:v>102.08223661695878</c:v>
                </c:pt>
                <c:pt idx="103">
                  <c:v>102.13253654781586</c:v>
                </c:pt>
                <c:pt idx="104">
                  <c:v>102.13253654781586</c:v>
                </c:pt>
                <c:pt idx="105">
                  <c:v>102.13253654781586</c:v>
                </c:pt>
                <c:pt idx="106">
                  <c:v>102.13933322294463</c:v>
                </c:pt>
                <c:pt idx="107">
                  <c:v>102.11144799697833</c:v>
                </c:pt>
                <c:pt idx="108">
                  <c:v>102.19354424315082</c:v>
                </c:pt>
                <c:pt idx="109">
                  <c:v>102.2257958095166</c:v>
                </c:pt>
                <c:pt idx="110">
                  <c:v>102.2257958095166</c:v>
                </c:pt>
                <c:pt idx="111">
                  <c:v>102.2257958095166</c:v>
                </c:pt>
                <c:pt idx="112">
                  <c:v>102.20770550781029</c:v>
                </c:pt>
                <c:pt idx="113">
                  <c:v>102.1630418551841</c:v>
                </c:pt>
                <c:pt idx="114">
                  <c:v>102.12460824522559</c:v>
                </c:pt>
                <c:pt idx="115">
                  <c:v>101.93726964672896</c:v>
                </c:pt>
                <c:pt idx="116">
                  <c:v>101.71092891971985</c:v>
                </c:pt>
                <c:pt idx="117">
                  <c:v>101.71092891971985</c:v>
                </c:pt>
                <c:pt idx="118">
                  <c:v>101.71092891971985</c:v>
                </c:pt>
                <c:pt idx="119">
                  <c:v>101.84527515996594</c:v>
                </c:pt>
                <c:pt idx="120">
                  <c:v>101.84527515996594</c:v>
                </c:pt>
                <c:pt idx="121">
                  <c:v>101.97455009124393</c:v>
                </c:pt>
                <c:pt idx="122">
                  <c:v>102.14170179251502</c:v>
                </c:pt>
                <c:pt idx="123">
                  <c:v>102.22786218469111</c:v>
                </c:pt>
                <c:pt idx="124">
                  <c:v>102.22786218469111</c:v>
                </c:pt>
                <c:pt idx="125">
                  <c:v>102.22786218469111</c:v>
                </c:pt>
                <c:pt idx="126">
                  <c:v>102.27512839224933</c:v>
                </c:pt>
                <c:pt idx="127">
                  <c:v>102.27512839224933</c:v>
                </c:pt>
                <c:pt idx="12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F5-45A2-9810-E2074ADB2560}"/>
            </c:ext>
          </c:extLst>
        </c:ser>
        <c:ser>
          <c:idx val="1"/>
          <c:order val="1"/>
          <c:tx>
            <c:strRef>
              <c:f>eplus_yld!$C$1</c:f>
              <c:strCache>
                <c:ptCount val="1"/>
                <c:pt idx="0">
                  <c:v>Min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cat>
            <c:numRef>
              <c:f>eplus_yld!$A$2:$A$500</c:f>
              <c:numCache>
                <c:formatCode>m/d/yyyy</c:formatCode>
                <c:ptCount val="499"/>
                <c:pt idx="0">
                  <c:v>43099</c:v>
                </c:pt>
                <c:pt idx="1">
                  <c:v>43100</c:v>
                </c:pt>
                <c:pt idx="2">
                  <c:v>43101</c:v>
                </c:pt>
                <c:pt idx="3">
                  <c:v>43102</c:v>
                </c:pt>
                <c:pt idx="4">
                  <c:v>43103</c:v>
                </c:pt>
                <c:pt idx="5">
                  <c:v>43104</c:v>
                </c:pt>
                <c:pt idx="6">
                  <c:v>43105</c:v>
                </c:pt>
                <c:pt idx="7">
                  <c:v>43106</c:v>
                </c:pt>
                <c:pt idx="8">
                  <c:v>43107</c:v>
                </c:pt>
                <c:pt idx="9">
                  <c:v>43108</c:v>
                </c:pt>
                <c:pt idx="10">
                  <c:v>43109</c:v>
                </c:pt>
                <c:pt idx="11">
                  <c:v>43110</c:v>
                </c:pt>
                <c:pt idx="12">
                  <c:v>43111</c:v>
                </c:pt>
                <c:pt idx="13">
                  <c:v>43112</c:v>
                </c:pt>
                <c:pt idx="14">
                  <c:v>43113</c:v>
                </c:pt>
                <c:pt idx="15">
                  <c:v>43114</c:v>
                </c:pt>
                <c:pt idx="16">
                  <c:v>43115</c:v>
                </c:pt>
                <c:pt idx="17">
                  <c:v>43116</c:v>
                </c:pt>
                <c:pt idx="18">
                  <c:v>43117</c:v>
                </c:pt>
                <c:pt idx="19">
                  <c:v>43118</c:v>
                </c:pt>
                <c:pt idx="20">
                  <c:v>43119</c:v>
                </c:pt>
                <c:pt idx="21">
                  <c:v>43120</c:v>
                </c:pt>
                <c:pt idx="22">
                  <c:v>43121</c:v>
                </c:pt>
                <c:pt idx="23">
                  <c:v>43122</c:v>
                </c:pt>
                <c:pt idx="24">
                  <c:v>43123</c:v>
                </c:pt>
                <c:pt idx="25">
                  <c:v>43124</c:v>
                </c:pt>
                <c:pt idx="26">
                  <c:v>43125</c:v>
                </c:pt>
                <c:pt idx="27">
                  <c:v>43126</c:v>
                </c:pt>
                <c:pt idx="28">
                  <c:v>43127</c:v>
                </c:pt>
                <c:pt idx="29">
                  <c:v>43128</c:v>
                </c:pt>
                <c:pt idx="30">
                  <c:v>43129</c:v>
                </c:pt>
                <c:pt idx="31">
                  <c:v>43130</c:v>
                </c:pt>
                <c:pt idx="32">
                  <c:v>43131</c:v>
                </c:pt>
                <c:pt idx="33">
                  <c:v>43132</c:v>
                </c:pt>
                <c:pt idx="34">
                  <c:v>43133</c:v>
                </c:pt>
                <c:pt idx="35">
                  <c:v>43134</c:v>
                </c:pt>
                <c:pt idx="36">
                  <c:v>43135</c:v>
                </c:pt>
                <c:pt idx="37">
                  <c:v>43136</c:v>
                </c:pt>
                <c:pt idx="38">
                  <c:v>43137</c:v>
                </c:pt>
                <c:pt idx="39">
                  <c:v>43138</c:v>
                </c:pt>
                <c:pt idx="40">
                  <c:v>43139</c:v>
                </c:pt>
                <c:pt idx="41">
                  <c:v>43140</c:v>
                </c:pt>
                <c:pt idx="42">
                  <c:v>43141</c:v>
                </c:pt>
                <c:pt idx="43">
                  <c:v>43142</c:v>
                </c:pt>
                <c:pt idx="44">
                  <c:v>43143</c:v>
                </c:pt>
                <c:pt idx="45">
                  <c:v>43144</c:v>
                </c:pt>
                <c:pt idx="46">
                  <c:v>43145</c:v>
                </c:pt>
                <c:pt idx="47">
                  <c:v>43146</c:v>
                </c:pt>
                <c:pt idx="48">
                  <c:v>43147</c:v>
                </c:pt>
                <c:pt idx="49">
                  <c:v>43148</c:v>
                </c:pt>
                <c:pt idx="50">
                  <c:v>43149</c:v>
                </c:pt>
                <c:pt idx="51">
                  <c:v>43150</c:v>
                </c:pt>
                <c:pt idx="52">
                  <c:v>43151</c:v>
                </c:pt>
                <c:pt idx="53">
                  <c:v>43152</c:v>
                </c:pt>
                <c:pt idx="54">
                  <c:v>43153</c:v>
                </c:pt>
                <c:pt idx="55">
                  <c:v>43154</c:v>
                </c:pt>
                <c:pt idx="56">
                  <c:v>43155</c:v>
                </c:pt>
                <c:pt idx="57">
                  <c:v>43156</c:v>
                </c:pt>
                <c:pt idx="58">
                  <c:v>43157</c:v>
                </c:pt>
                <c:pt idx="59">
                  <c:v>43158</c:v>
                </c:pt>
                <c:pt idx="60">
                  <c:v>43159</c:v>
                </c:pt>
                <c:pt idx="61">
                  <c:v>43160</c:v>
                </c:pt>
                <c:pt idx="62">
                  <c:v>43161</c:v>
                </c:pt>
                <c:pt idx="63">
                  <c:v>43162</c:v>
                </c:pt>
                <c:pt idx="64">
                  <c:v>43163</c:v>
                </c:pt>
                <c:pt idx="65">
                  <c:v>43164</c:v>
                </c:pt>
                <c:pt idx="66">
                  <c:v>43165</c:v>
                </c:pt>
                <c:pt idx="67">
                  <c:v>43166</c:v>
                </c:pt>
                <c:pt idx="68">
                  <c:v>43167</c:v>
                </c:pt>
                <c:pt idx="69">
                  <c:v>43168</c:v>
                </c:pt>
                <c:pt idx="70">
                  <c:v>43169</c:v>
                </c:pt>
                <c:pt idx="71">
                  <c:v>43170</c:v>
                </c:pt>
                <c:pt idx="72">
                  <c:v>43171</c:v>
                </c:pt>
                <c:pt idx="73">
                  <c:v>43172</c:v>
                </c:pt>
                <c:pt idx="74">
                  <c:v>43173</c:v>
                </c:pt>
                <c:pt idx="75">
                  <c:v>43174</c:v>
                </c:pt>
                <c:pt idx="76">
                  <c:v>43175</c:v>
                </c:pt>
                <c:pt idx="77">
                  <c:v>43176</c:v>
                </c:pt>
                <c:pt idx="78">
                  <c:v>43177</c:v>
                </c:pt>
                <c:pt idx="79">
                  <c:v>43178</c:v>
                </c:pt>
                <c:pt idx="80">
                  <c:v>43179</c:v>
                </c:pt>
                <c:pt idx="81">
                  <c:v>43180</c:v>
                </c:pt>
                <c:pt idx="82">
                  <c:v>43181</c:v>
                </c:pt>
                <c:pt idx="83">
                  <c:v>43182</c:v>
                </c:pt>
                <c:pt idx="84">
                  <c:v>43183</c:v>
                </c:pt>
                <c:pt idx="85">
                  <c:v>43184</c:v>
                </c:pt>
                <c:pt idx="86">
                  <c:v>43185</c:v>
                </c:pt>
                <c:pt idx="87">
                  <c:v>43186</c:v>
                </c:pt>
                <c:pt idx="88">
                  <c:v>43187</c:v>
                </c:pt>
                <c:pt idx="89">
                  <c:v>43188</c:v>
                </c:pt>
                <c:pt idx="90">
                  <c:v>43189</c:v>
                </c:pt>
                <c:pt idx="91">
                  <c:v>43190</c:v>
                </c:pt>
                <c:pt idx="92">
                  <c:v>43191</c:v>
                </c:pt>
                <c:pt idx="93">
                  <c:v>43192</c:v>
                </c:pt>
                <c:pt idx="94">
                  <c:v>43193</c:v>
                </c:pt>
                <c:pt idx="95">
                  <c:v>43194</c:v>
                </c:pt>
                <c:pt idx="96">
                  <c:v>43195</c:v>
                </c:pt>
                <c:pt idx="97">
                  <c:v>43196</c:v>
                </c:pt>
                <c:pt idx="98">
                  <c:v>43197</c:v>
                </c:pt>
                <c:pt idx="99">
                  <c:v>43198</c:v>
                </c:pt>
                <c:pt idx="100">
                  <c:v>43199</c:v>
                </c:pt>
                <c:pt idx="101">
                  <c:v>43200</c:v>
                </c:pt>
                <c:pt idx="102">
                  <c:v>43201</c:v>
                </c:pt>
                <c:pt idx="103">
                  <c:v>43202</c:v>
                </c:pt>
                <c:pt idx="104">
                  <c:v>43203</c:v>
                </c:pt>
                <c:pt idx="105">
                  <c:v>43204</c:v>
                </c:pt>
                <c:pt idx="106">
                  <c:v>43205</c:v>
                </c:pt>
                <c:pt idx="107">
                  <c:v>43206</c:v>
                </c:pt>
                <c:pt idx="108">
                  <c:v>43207</c:v>
                </c:pt>
                <c:pt idx="109">
                  <c:v>43208</c:v>
                </c:pt>
                <c:pt idx="110">
                  <c:v>43209</c:v>
                </c:pt>
                <c:pt idx="111">
                  <c:v>43210</c:v>
                </c:pt>
                <c:pt idx="112">
                  <c:v>43211</c:v>
                </c:pt>
                <c:pt idx="113">
                  <c:v>43212</c:v>
                </c:pt>
                <c:pt idx="114">
                  <c:v>43213</c:v>
                </c:pt>
                <c:pt idx="115">
                  <c:v>43214</c:v>
                </c:pt>
                <c:pt idx="116">
                  <c:v>43215</c:v>
                </c:pt>
                <c:pt idx="117">
                  <c:v>43216</c:v>
                </c:pt>
                <c:pt idx="118">
                  <c:v>43217</c:v>
                </c:pt>
                <c:pt idx="119">
                  <c:v>43218</c:v>
                </c:pt>
                <c:pt idx="120">
                  <c:v>43219</c:v>
                </c:pt>
                <c:pt idx="121">
                  <c:v>43220</c:v>
                </c:pt>
                <c:pt idx="122">
                  <c:v>43221</c:v>
                </c:pt>
                <c:pt idx="123">
                  <c:v>43222</c:v>
                </c:pt>
                <c:pt idx="124">
                  <c:v>43223</c:v>
                </c:pt>
                <c:pt idx="125">
                  <c:v>43224</c:v>
                </c:pt>
                <c:pt idx="126">
                  <c:v>43225</c:v>
                </c:pt>
                <c:pt idx="127">
                  <c:v>43226</c:v>
                </c:pt>
                <c:pt idx="128">
                  <c:v>43098</c:v>
                </c:pt>
              </c:numCache>
            </c:numRef>
          </c:cat>
          <c:val>
            <c:numRef>
              <c:f>eplus_yld!$C$2:$C$500</c:f>
              <c:numCache>
                <c:formatCode>General</c:formatCode>
                <c:ptCount val="499"/>
                <c:pt idx="0">
                  <c:v>100</c:v>
                </c:pt>
                <c:pt idx="1">
                  <c:v>100.02747686739755</c:v>
                </c:pt>
                <c:pt idx="2">
                  <c:v>100.11814308697046</c:v>
                </c:pt>
                <c:pt idx="3">
                  <c:v>100.1052433528546</c:v>
                </c:pt>
                <c:pt idx="4">
                  <c:v>100.13333526092643</c:v>
                </c:pt>
                <c:pt idx="5">
                  <c:v>100.08140994341066</c:v>
                </c:pt>
                <c:pt idx="6">
                  <c:v>100.08140994341066</c:v>
                </c:pt>
                <c:pt idx="7">
                  <c:v>100.08140994341066</c:v>
                </c:pt>
                <c:pt idx="8">
                  <c:v>100.18407141142227</c:v>
                </c:pt>
                <c:pt idx="9">
                  <c:v>100.18768342173021</c:v>
                </c:pt>
                <c:pt idx="10">
                  <c:v>100.22851011875326</c:v>
                </c:pt>
                <c:pt idx="11">
                  <c:v>99.948908885565558</c:v>
                </c:pt>
                <c:pt idx="12">
                  <c:v>99.956118772872273</c:v>
                </c:pt>
                <c:pt idx="13">
                  <c:v>99.956118772872273</c:v>
                </c:pt>
                <c:pt idx="14">
                  <c:v>99.956118772872273</c:v>
                </c:pt>
                <c:pt idx="15">
                  <c:v>99.956118772872273</c:v>
                </c:pt>
                <c:pt idx="16">
                  <c:v>99.996213947614862</c:v>
                </c:pt>
                <c:pt idx="17">
                  <c:v>100.03895390601132</c:v>
                </c:pt>
                <c:pt idx="18">
                  <c:v>100.28259503598088</c:v>
                </c:pt>
                <c:pt idx="19">
                  <c:v>100.278504605405</c:v>
                </c:pt>
                <c:pt idx="20">
                  <c:v>100.278504605405</c:v>
                </c:pt>
                <c:pt idx="21">
                  <c:v>100.278504605405</c:v>
                </c:pt>
                <c:pt idx="22">
                  <c:v>100.30874186284707</c:v>
                </c:pt>
                <c:pt idx="23">
                  <c:v>100.30885238612784</c:v>
                </c:pt>
                <c:pt idx="24">
                  <c:v>100.41067184599565</c:v>
                </c:pt>
                <c:pt idx="25">
                  <c:v>100.45180484618464</c:v>
                </c:pt>
                <c:pt idx="26">
                  <c:v>100.5570677402626</c:v>
                </c:pt>
                <c:pt idx="27">
                  <c:v>100.5570677402626</c:v>
                </c:pt>
                <c:pt idx="28">
                  <c:v>100.5570677402626</c:v>
                </c:pt>
                <c:pt idx="29">
                  <c:v>100.58678575709196</c:v>
                </c:pt>
                <c:pt idx="30">
                  <c:v>100.54030727197521</c:v>
                </c:pt>
                <c:pt idx="31">
                  <c:v>100.4807611049154</c:v>
                </c:pt>
                <c:pt idx="32">
                  <c:v>100.44693636916176</c:v>
                </c:pt>
                <c:pt idx="33">
                  <c:v>100.37119345195161</c:v>
                </c:pt>
                <c:pt idx="34">
                  <c:v>100.37119345195161</c:v>
                </c:pt>
                <c:pt idx="35">
                  <c:v>100.37119345195161</c:v>
                </c:pt>
                <c:pt idx="36">
                  <c:v>100.20203297277789</c:v>
                </c:pt>
                <c:pt idx="37">
                  <c:v>100.07100545091299</c:v>
                </c:pt>
                <c:pt idx="38">
                  <c:v>100.21087395789839</c:v>
                </c:pt>
                <c:pt idx="39">
                  <c:v>100.11216238046028</c:v>
                </c:pt>
                <c:pt idx="40">
                  <c:v>100.20953185428583</c:v>
                </c:pt>
                <c:pt idx="41">
                  <c:v>100.20953185428583</c:v>
                </c:pt>
                <c:pt idx="42">
                  <c:v>100.20953185428583</c:v>
                </c:pt>
                <c:pt idx="43">
                  <c:v>100.29668362060957</c:v>
                </c:pt>
                <c:pt idx="44">
                  <c:v>100.29099094180901</c:v>
                </c:pt>
                <c:pt idx="45">
                  <c:v>100.31370768147602</c:v>
                </c:pt>
                <c:pt idx="46">
                  <c:v>100.43502951755534</c:v>
                </c:pt>
                <c:pt idx="47">
                  <c:v>100.4160433460009</c:v>
                </c:pt>
                <c:pt idx="48">
                  <c:v>100.4160433460009</c:v>
                </c:pt>
                <c:pt idx="49">
                  <c:v>100.4160433460009</c:v>
                </c:pt>
                <c:pt idx="50">
                  <c:v>100.48363922367363</c:v>
                </c:pt>
                <c:pt idx="51">
                  <c:v>100.55648681248724</c:v>
                </c:pt>
                <c:pt idx="52">
                  <c:v>100.60629686667272</c:v>
                </c:pt>
                <c:pt idx="53">
                  <c:v>100.663002943153</c:v>
                </c:pt>
                <c:pt idx="54">
                  <c:v>100.67931591419624</c:v>
                </c:pt>
                <c:pt idx="55">
                  <c:v>100.67931591419624</c:v>
                </c:pt>
                <c:pt idx="56">
                  <c:v>100.67931591419624</c:v>
                </c:pt>
                <c:pt idx="57">
                  <c:v>100.7311222190979</c:v>
                </c:pt>
                <c:pt idx="58">
                  <c:v>100.76100071322178</c:v>
                </c:pt>
                <c:pt idx="59">
                  <c:v>100.65578849810342</c:v>
                </c:pt>
                <c:pt idx="60">
                  <c:v>100.65353228446628</c:v>
                </c:pt>
                <c:pt idx="61">
                  <c:v>100.6942442227091</c:v>
                </c:pt>
                <c:pt idx="62">
                  <c:v>100.6942442227091</c:v>
                </c:pt>
                <c:pt idx="63">
                  <c:v>100.6942442227091</c:v>
                </c:pt>
                <c:pt idx="64">
                  <c:v>100.77709722096901</c:v>
                </c:pt>
                <c:pt idx="65">
                  <c:v>100.82068099591825</c:v>
                </c:pt>
                <c:pt idx="66">
                  <c:v>100.76850226147533</c:v>
                </c:pt>
                <c:pt idx="67">
                  <c:v>100.80993518175076</c:v>
                </c:pt>
                <c:pt idx="68">
                  <c:v>100.7271779268755</c:v>
                </c:pt>
                <c:pt idx="69">
                  <c:v>100.7271779268755</c:v>
                </c:pt>
                <c:pt idx="70">
                  <c:v>100.7271779268755</c:v>
                </c:pt>
                <c:pt idx="71">
                  <c:v>100.73964019938947</c:v>
                </c:pt>
                <c:pt idx="72">
                  <c:v>100.89796317975581</c:v>
                </c:pt>
                <c:pt idx="73">
                  <c:v>100.93424743461522</c:v>
                </c:pt>
                <c:pt idx="74">
                  <c:v>100.97111192091194</c:v>
                </c:pt>
                <c:pt idx="75">
                  <c:v>101.05296985883338</c:v>
                </c:pt>
                <c:pt idx="76">
                  <c:v>101.05296985883338</c:v>
                </c:pt>
                <c:pt idx="77">
                  <c:v>101.05296985883338</c:v>
                </c:pt>
                <c:pt idx="78">
                  <c:v>101.18711497757602</c:v>
                </c:pt>
                <c:pt idx="79">
                  <c:v>101.1693828107348</c:v>
                </c:pt>
                <c:pt idx="80">
                  <c:v>101.1157575428243</c:v>
                </c:pt>
                <c:pt idx="81">
                  <c:v>101.04152049019324</c:v>
                </c:pt>
                <c:pt idx="82">
                  <c:v>101.02996172957887</c:v>
                </c:pt>
                <c:pt idx="83">
                  <c:v>101.02996172957887</c:v>
                </c:pt>
                <c:pt idx="84">
                  <c:v>101.02996172957887</c:v>
                </c:pt>
                <c:pt idx="85">
                  <c:v>101.10480594615878</c:v>
                </c:pt>
                <c:pt idx="86">
                  <c:v>101.20069780088004</c:v>
                </c:pt>
                <c:pt idx="87">
                  <c:v>101.29869243706695</c:v>
                </c:pt>
                <c:pt idx="88">
                  <c:v>101.29869243706695</c:v>
                </c:pt>
                <c:pt idx="89">
                  <c:v>101.38695893043599</c:v>
                </c:pt>
                <c:pt idx="90">
                  <c:v>101.38695893043599</c:v>
                </c:pt>
                <c:pt idx="91">
                  <c:v>101.38695893043599</c:v>
                </c:pt>
                <c:pt idx="92">
                  <c:v>101.43212392542355</c:v>
                </c:pt>
                <c:pt idx="93">
                  <c:v>101.41736274653677</c:v>
                </c:pt>
                <c:pt idx="94">
                  <c:v>101.45783895341668</c:v>
                </c:pt>
                <c:pt idx="95">
                  <c:v>101.58605603258096</c:v>
                </c:pt>
                <c:pt idx="96">
                  <c:v>101.58605603258096</c:v>
                </c:pt>
                <c:pt idx="97">
                  <c:v>101.64886655409251</c:v>
                </c:pt>
                <c:pt idx="98">
                  <c:v>101.64886655409251</c:v>
                </c:pt>
                <c:pt idx="99">
                  <c:v>101.5753922145085</c:v>
                </c:pt>
                <c:pt idx="100">
                  <c:v>101.62646654424084</c:v>
                </c:pt>
                <c:pt idx="101">
                  <c:v>101.71380596260501</c:v>
                </c:pt>
                <c:pt idx="102">
                  <c:v>101.74135630760991</c:v>
                </c:pt>
                <c:pt idx="103">
                  <c:v>101.76818780896976</c:v>
                </c:pt>
                <c:pt idx="104">
                  <c:v>101.76818780896976</c:v>
                </c:pt>
                <c:pt idx="105">
                  <c:v>101.76818780896976</c:v>
                </c:pt>
                <c:pt idx="106">
                  <c:v>101.78307112937725</c:v>
                </c:pt>
                <c:pt idx="107">
                  <c:v>101.76625327361954</c:v>
                </c:pt>
                <c:pt idx="108">
                  <c:v>101.84135787571961</c:v>
                </c:pt>
                <c:pt idx="109">
                  <c:v>101.86301724296715</c:v>
                </c:pt>
                <c:pt idx="110">
                  <c:v>101.86301724296715</c:v>
                </c:pt>
                <c:pt idx="111">
                  <c:v>101.86301724296715</c:v>
                </c:pt>
                <c:pt idx="112">
                  <c:v>101.84692321267657</c:v>
                </c:pt>
                <c:pt idx="113">
                  <c:v>101.81458296980135</c:v>
                </c:pt>
                <c:pt idx="114">
                  <c:v>101.7841929134278</c:v>
                </c:pt>
                <c:pt idx="115">
                  <c:v>101.63028422604484</c:v>
                </c:pt>
                <c:pt idx="116">
                  <c:v>101.40252735061091</c:v>
                </c:pt>
                <c:pt idx="117">
                  <c:v>101.40252735061091</c:v>
                </c:pt>
                <c:pt idx="118">
                  <c:v>101.40252735061091</c:v>
                </c:pt>
                <c:pt idx="119">
                  <c:v>101.53899618174556</c:v>
                </c:pt>
                <c:pt idx="120">
                  <c:v>101.53899618174556</c:v>
                </c:pt>
                <c:pt idx="121">
                  <c:v>101.67597321150342</c:v>
                </c:pt>
                <c:pt idx="122">
                  <c:v>101.8500241264715</c:v>
                </c:pt>
                <c:pt idx="123">
                  <c:v>101.91700256831072</c:v>
                </c:pt>
                <c:pt idx="124">
                  <c:v>101.91700256831072</c:v>
                </c:pt>
                <c:pt idx="125">
                  <c:v>101.91700256831072</c:v>
                </c:pt>
                <c:pt idx="126">
                  <c:v>101.93248868415577</c:v>
                </c:pt>
                <c:pt idx="127">
                  <c:v>101.93248868415577</c:v>
                </c:pt>
                <c:pt idx="12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5A2-9810-E2074ADB2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0022544"/>
        <c:axId val="839646960"/>
      </c:areaChart>
      <c:lineChart>
        <c:grouping val="standard"/>
        <c:varyColors val="0"/>
        <c:ser>
          <c:idx val="2"/>
          <c:order val="2"/>
          <c:tx>
            <c:v>Benchmark</c:v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eplus_yld!$A$2:$A$500</c:f>
              <c:numCache>
                <c:formatCode>m/d/yyyy</c:formatCode>
                <c:ptCount val="499"/>
                <c:pt idx="0">
                  <c:v>43099</c:v>
                </c:pt>
                <c:pt idx="1">
                  <c:v>43100</c:v>
                </c:pt>
                <c:pt idx="2">
                  <c:v>43101</c:v>
                </c:pt>
                <c:pt idx="3">
                  <c:v>43102</c:v>
                </c:pt>
                <c:pt idx="4">
                  <c:v>43103</c:v>
                </c:pt>
                <c:pt idx="5">
                  <c:v>43104</c:v>
                </c:pt>
                <c:pt idx="6">
                  <c:v>43105</c:v>
                </c:pt>
                <c:pt idx="7">
                  <c:v>43106</c:v>
                </c:pt>
                <c:pt idx="8">
                  <c:v>43107</c:v>
                </c:pt>
                <c:pt idx="9">
                  <c:v>43108</c:v>
                </c:pt>
                <c:pt idx="10">
                  <c:v>43109</c:v>
                </c:pt>
                <c:pt idx="11">
                  <c:v>43110</c:v>
                </c:pt>
                <c:pt idx="12">
                  <c:v>43111</c:v>
                </c:pt>
                <c:pt idx="13">
                  <c:v>43112</c:v>
                </c:pt>
                <c:pt idx="14">
                  <c:v>43113</c:v>
                </c:pt>
                <c:pt idx="15">
                  <c:v>43114</c:v>
                </c:pt>
                <c:pt idx="16">
                  <c:v>43115</c:v>
                </c:pt>
                <c:pt idx="17">
                  <c:v>43116</c:v>
                </c:pt>
                <c:pt idx="18">
                  <c:v>43117</c:v>
                </c:pt>
                <c:pt idx="19">
                  <c:v>43118</c:v>
                </c:pt>
                <c:pt idx="20">
                  <c:v>43119</c:v>
                </c:pt>
                <c:pt idx="21">
                  <c:v>43120</c:v>
                </c:pt>
                <c:pt idx="22">
                  <c:v>43121</c:v>
                </c:pt>
                <c:pt idx="23">
                  <c:v>43122</c:v>
                </c:pt>
                <c:pt idx="24">
                  <c:v>43123</c:v>
                </c:pt>
                <c:pt idx="25">
                  <c:v>43124</c:v>
                </c:pt>
                <c:pt idx="26">
                  <c:v>43125</c:v>
                </c:pt>
                <c:pt idx="27">
                  <c:v>43126</c:v>
                </c:pt>
                <c:pt idx="28">
                  <c:v>43127</c:v>
                </c:pt>
                <c:pt idx="29">
                  <c:v>43128</c:v>
                </c:pt>
                <c:pt idx="30">
                  <c:v>43129</c:v>
                </c:pt>
                <c:pt idx="31">
                  <c:v>43130</c:v>
                </c:pt>
                <c:pt idx="32">
                  <c:v>43131</c:v>
                </c:pt>
                <c:pt idx="33">
                  <c:v>43132</c:v>
                </c:pt>
                <c:pt idx="34">
                  <c:v>43133</c:v>
                </c:pt>
                <c:pt idx="35">
                  <c:v>43134</c:v>
                </c:pt>
                <c:pt idx="36">
                  <c:v>43135</c:v>
                </c:pt>
                <c:pt idx="37">
                  <c:v>43136</c:v>
                </c:pt>
                <c:pt idx="38">
                  <c:v>43137</c:v>
                </c:pt>
                <c:pt idx="39">
                  <c:v>43138</c:v>
                </c:pt>
                <c:pt idx="40">
                  <c:v>43139</c:v>
                </c:pt>
                <c:pt idx="41">
                  <c:v>43140</c:v>
                </c:pt>
                <c:pt idx="42">
                  <c:v>43141</c:v>
                </c:pt>
                <c:pt idx="43">
                  <c:v>43142</c:v>
                </c:pt>
                <c:pt idx="44">
                  <c:v>43143</c:v>
                </c:pt>
                <c:pt idx="45">
                  <c:v>43144</c:v>
                </c:pt>
                <c:pt idx="46">
                  <c:v>43145</c:v>
                </c:pt>
                <c:pt idx="47">
                  <c:v>43146</c:v>
                </c:pt>
                <c:pt idx="48">
                  <c:v>43147</c:v>
                </c:pt>
                <c:pt idx="49">
                  <c:v>43148</c:v>
                </c:pt>
                <c:pt idx="50">
                  <c:v>43149</c:v>
                </c:pt>
                <c:pt idx="51">
                  <c:v>43150</c:v>
                </c:pt>
                <c:pt idx="52">
                  <c:v>43151</c:v>
                </c:pt>
                <c:pt idx="53">
                  <c:v>43152</c:v>
                </c:pt>
                <c:pt idx="54">
                  <c:v>43153</c:v>
                </c:pt>
                <c:pt idx="55">
                  <c:v>43154</c:v>
                </c:pt>
                <c:pt idx="56">
                  <c:v>43155</c:v>
                </c:pt>
                <c:pt idx="57">
                  <c:v>43156</c:v>
                </c:pt>
                <c:pt idx="58">
                  <c:v>43157</c:v>
                </c:pt>
                <c:pt idx="59">
                  <c:v>43158</c:v>
                </c:pt>
                <c:pt idx="60">
                  <c:v>43159</c:v>
                </c:pt>
                <c:pt idx="61">
                  <c:v>43160</c:v>
                </c:pt>
                <c:pt idx="62">
                  <c:v>43161</c:v>
                </c:pt>
                <c:pt idx="63">
                  <c:v>43162</c:v>
                </c:pt>
                <c:pt idx="64">
                  <c:v>43163</c:v>
                </c:pt>
                <c:pt idx="65">
                  <c:v>43164</c:v>
                </c:pt>
                <c:pt idx="66">
                  <c:v>43165</c:v>
                </c:pt>
                <c:pt idx="67">
                  <c:v>43166</c:v>
                </c:pt>
                <c:pt idx="68">
                  <c:v>43167</c:v>
                </c:pt>
                <c:pt idx="69">
                  <c:v>43168</c:v>
                </c:pt>
                <c:pt idx="70">
                  <c:v>43169</c:v>
                </c:pt>
                <c:pt idx="71">
                  <c:v>43170</c:v>
                </c:pt>
                <c:pt idx="72">
                  <c:v>43171</c:v>
                </c:pt>
                <c:pt idx="73">
                  <c:v>43172</c:v>
                </c:pt>
                <c:pt idx="74">
                  <c:v>43173</c:v>
                </c:pt>
                <c:pt idx="75">
                  <c:v>43174</c:v>
                </c:pt>
                <c:pt idx="76">
                  <c:v>43175</c:v>
                </c:pt>
                <c:pt idx="77">
                  <c:v>43176</c:v>
                </c:pt>
                <c:pt idx="78">
                  <c:v>43177</c:v>
                </c:pt>
                <c:pt idx="79">
                  <c:v>43178</c:v>
                </c:pt>
                <c:pt idx="80">
                  <c:v>43179</c:v>
                </c:pt>
                <c:pt idx="81">
                  <c:v>43180</c:v>
                </c:pt>
                <c:pt idx="82">
                  <c:v>43181</c:v>
                </c:pt>
                <c:pt idx="83">
                  <c:v>43182</c:v>
                </c:pt>
                <c:pt idx="84">
                  <c:v>43183</c:v>
                </c:pt>
                <c:pt idx="85">
                  <c:v>43184</c:v>
                </c:pt>
                <c:pt idx="86">
                  <c:v>43185</c:v>
                </c:pt>
                <c:pt idx="87">
                  <c:v>43186</c:v>
                </c:pt>
                <c:pt idx="88">
                  <c:v>43187</c:v>
                </c:pt>
                <c:pt idx="89">
                  <c:v>43188</c:v>
                </c:pt>
                <c:pt idx="90">
                  <c:v>43189</c:v>
                </c:pt>
                <c:pt idx="91">
                  <c:v>43190</c:v>
                </c:pt>
                <c:pt idx="92">
                  <c:v>43191</c:v>
                </c:pt>
                <c:pt idx="93">
                  <c:v>43192</c:v>
                </c:pt>
                <c:pt idx="94">
                  <c:v>43193</c:v>
                </c:pt>
                <c:pt idx="95">
                  <c:v>43194</c:v>
                </c:pt>
                <c:pt idx="96">
                  <c:v>43195</c:v>
                </c:pt>
                <c:pt idx="97">
                  <c:v>43196</c:v>
                </c:pt>
                <c:pt idx="98">
                  <c:v>43197</c:v>
                </c:pt>
                <c:pt idx="99">
                  <c:v>43198</c:v>
                </c:pt>
                <c:pt idx="100">
                  <c:v>43199</c:v>
                </c:pt>
                <c:pt idx="101">
                  <c:v>43200</c:v>
                </c:pt>
                <c:pt idx="102">
                  <c:v>43201</c:v>
                </c:pt>
                <c:pt idx="103">
                  <c:v>43202</c:v>
                </c:pt>
                <c:pt idx="104">
                  <c:v>43203</c:v>
                </c:pt>
                <c:pt idx="105">
                  <c:v>43204</c:v>
                </c:pt>
                <c:pt idx="106">
                  <c:v>43205</c:v>
                </c:pt>
                <c:pt idx="107">
                  <c:v>43206</c:v>
                </c:pt>
                <c:pt idx="108">
                  <c:v>43207</c:v>
                </c:pt>
                <c:pt idx="109">
                  <c:v>43208</c:v>
                </c:pt>
                <c:pt idx="110">
                  <c:v>43209</c:v>
                </c:pt>
                <c:pt idx="111">
                  <c:v>43210</c:v>
                </c:pt>
                <c:pt idx="112">
                  <c:v>43211</c:v>
                </c:pt>
                <c:pt idx="113">
                  <c:v>43212</c:v>
                </c:pt>
                <c:pt idx="114">
                  <c:v>43213</c:v>
                </c:pt>
                <c:pt idx="115">
                  <c:v>43214</c:v>
                </c:pt>
                <c:pt idx="116">
                  <c:v>43215</c:v>
                </c:pt>
                <c:pt idx="117">
                  <c:v>43216</c:v>
                </c:pt>
                <c:pt idx="118">
                  <c:v>43217</c:v>
                </c:pt>
                <c:pt idx="119">
                  <c:v>43218</c:v>
                </c:pt>
                <c:pt idx="120">
                  <c:v>43219</c:v>
                </c:pt>
                <c:pt idx="121">
                  <c:v>43220</c:v>
                </c:pt>
                <c:pt idx="122">
                  <c:v>43221</c:v>
                </c:pt>
                <c:pt idx="123">
                  <c:v>43222</c:v>
                </c:pt>
                <c:pt idx="124">
                  <c:v>43223</c:v>
                </c:pt>
                <c:pt idx="125">
                  <c:v>43224</c:v>
                </c:pt>
                <c:pt idx="126">
                  <c:v>43225</c:v>
                </c:pt>
                <c:pt idx="127">
                  <c:v>43226</c:v>
                </c:pt>
                <c:pt idx="128">
                  <c:v>43098</c:v>
                </c:pt>
              </c:numCache>
            </c:numRef>
          </c:cat>
          <c:val>
            <c:numRef>
              <c:f>eplus_yld!$D$2:$D$500</c:f>
              <c:numCache>
                <c:formatCode>General</c:formatCode>
                <c:ptCount val="499"/>
                <c:pt idx="0">
                  <c:v>100</c:v>
                </c:pt>
                <c:pt idx="1">
                  <c:v>100.04912131641616</c:v>
                </c:pt>
                <c:pt idx="2">
                  <c:v>100.14667506915326</c:v>
                </c:pt>
                <c:pt idx="3">
                  <c:v>100.13969578980601</c:v>
                </c:pt>
                <c:pt idx="4">
                  <c:v>100.17326503026375</c:v>
                </c:pt>
                <c:pt idx="5">
                  <c:v>100.12541232877182</c:v>
                </c:pt>
                <c:pt idx="6">
                  <c:v>100.12541232877182</c:v>
                </c:pt>
                <c:pt idx="7">
                  <c:v>100.12541232877182</c:v>
                </c:pt>
                <c:pt idx="8">
                  <c:v>100.24307630450619</c:v>
                </c:pt>
                <c:pt idx="9">
                  <c:v>100.2441392194545</c:v>
                </c:pt>
                <c:pt idx="10">
                  <c:v>100.26665886842689</c:v>
                </c:pt>
                <c:pt idx="11">
                  <c:v>100.01006286147526</c:v>
                </c:pt>
                <c:pt idx="12">
                  <c:v>100.01765555237284</c:v>
                </c:pt>
                <c:pt idx="13">
                  <c:v>100.01765555237284</c:v>
                </c:pt>
                <c:pt idx="14">
                  <c:v>100.01765555237284</c:v>
                </c:pt>
                <c:pt idx="15">
                  <c:v>100.01765555237284</c:v>
                </c:pt>
                <c:pt idx="16">
                  <c:v>100.06641664735885</c:v>
                </c:pt>
                <c:pt idx="17">
                  <c:v>100.11294166597918</c:v>
                </c:pt>
                <c:pt idx="18">
                  <c:v>100.35570076628824</c:v>
                </c:pt>
                <c:pt idx="19">
                  <c:v>100.3530649818092</c:v>
                </c:pt>
                <c:pt idx="20">
                  <c:v>100.3530649818092</c:v>
                </c:pt>
                <c:pt idx="21">
                  <c:v>100.3530649818092</c:v>
                </c:pt>
                <c:pt idx="22">
                  <c:v>100.39035655582281</c:v>
                </c:pt>
                <c:pt idx="23">
                  <c:v>100.39874360639629</c:v>
                </c:pt>
                <c:pt idx="24">
                  <c:v>100.49943841733769</c:v>
                </c:pt>
                <c:pt idx="25">
                  <c:v>100.54091468431959</c:v>
                </c:pt>
                <c:pt idx="26">
                  <c:v>100.66763577903851</c:v>
                </c:pt>
                <c:pt idx="27">
                  <c:v>100.66763577903851</c:v>
                </c:pt>
                <c:pt idx="28">
                  <c:v>100.66763577903851</c:v>
                </c:pt>
                <c:pt idx="29">
                  <c:v>100.71882334358816</c:v>
                </c:pt>
                <c:pt idx="30">
                  <c:v>100.63332885978552</c:v>
                </c:pt>
                <c:pt idx="31">
                  <c:v>100.5633909100992</c:v>
                </c:pt>
                <c:pt idx="32">
                  <c:v>100.52992448323492</c:v>
                </c:pt>
                <c:pt idx="33">
                  <c:v>100.47306238891433</c:v>
                </c:pt>
                <c:pt idx="34">
                  <c:v>100.47306238891433</c:v>
                </c:pt>
                <c:pt idx="35">
                  <c:v>100.47306238891433</c:v>
                </c:pt>
                <c:pt idx="36">
                  <c:v>100.30827517718484</c:v>
                </c:pt>
                <c:pt idx="37">
                  <c:v>100.17587073484215</c:v>
                </c:pt>
                <c:pt idx="38">
                  <c:v>100.29404629156009</c:v>
                </c:pt>
                <c:pt idx="39">
                  <c:v>100.18894825189899</c:v>
                </c:pt>
                <c:pt idx="40">
                  <c:v>100.31436852543645</c:v>
                </c:pt>
                <c:pt idx="41">
                  <c:v>100.31436852543645</c:v>
                </c:pt>
                <c:pt idx="42">
                  <c:v>100.31436852543645</c:v>
                </c:pt>
                <c:pt idx="43">
                  <c:v>100.38962214182332</c:v>
                </c:pt>
                <c:pt idx="44">
                  <c:v>100.3833204919426</c:v>
                </c:pt>
                <c:pt idx="45">
                  <c:v>100.41100761097357</c:v>
                </c:pt>
                <c:pt idx="46">
                  <c:v>100.52627728826131</c:v>
                </c:pt>
                <c:pt idx="47">
                  <c:v>100.50687698592509</c:v>
                </c:pt>
                <c:pt idx="48">
                  <c:v>100.50687698592509</c:v>
                </c:pt>
                <c:pt idx="49">
                  <c:v>100.50687698592509</c:v>
                </c:pt>
                <c:pt idx="50">
                  <c:v>100.56817295481336</c:v>
                </c:pt>
                <c:pt idx="51">
                  <c:v>100.65716637913768</c:v>
                </c:pt>
                <c:pt idx="52">
                  <c:v>100.7248432852691</c:v>
                </c:pt>
                <c:pt idx="53">
                  <c:v>100.81865099838267</c:v>
                </c:pt>
                <c:pt idx="54">
                  <c:v>100.84275971268971</c:v>
                </c:pt>
                <c:pt idx="55">
                  <c:v>100.84275971268971</c:v>
                </c:pt>
                <c:pt idx="56">
                  <c:v>100.84275971268971</c:v>
                </c:pt>
                <c:pt idx="57">
                  <c:v>100.88609292191704</c:v>
                </c:pt>
                <c:pt idx="58">
                  <c:v>100.90077813510744</c:v>
                </c:pt>
                <c:pt idx="59">
                  <c:v>100.78426187525918</c:v>
                </c:pt>
                <c:pt idx="60">
                  <c:v>100.79288568808333</c:v>
                </c:pt>
                <c:pt idx="61">
                  <c:v>100.82988513955</c:v>
                </c:pt>
                <c:pt idx="62">
                  <c:v>100.82988513955</c:v>
                </c:pt>
                <c:pt idx="63">
                  <c:v>100.82988513955</c:v>
                </c:pt>
                <c:pt idx="64">
                  <c:v>100.90677708113685</c:v>
                </c:pt>
                <c:pt idx="65">
                  <c:v>100.95269576004419</c:v>
                </c:pt>
                <c:pt idx="66">
                  <c:v>100.91965234968245</c:v>
                </c:pt>
                <c:pt idx="67">
                  <c:v>100.96221675628207</c:v>
                </c:pt>
                <c:pt idx="68">
                  <c:v>100.85405875693947</c:v>
                </c:pt>
                <c:pt idx="69">
                  <c:v>100.85405875693947</c:v>
                </c:pt>
                <c:pt idx="70">
                  <c:v>100.85405875693947</c:v>
                </c:pt>
                <c:pt idx="71">
                  <c:v>100.83992102916751</c:v>
                </c:pt>
                <c:pt idx="72">
                  <c:v>101.02530994699303</c:v>
                </c:pt>
                <c:pt idx="73">
                  <c:v>101.05433229256977</c:v>
                </c:pt>
                <c:pt idx="74">
                  <c:v>101.08921231580507</c:v>
                </c:pt>
                <c:pt idx="75">
                  <c:v>101.16488445563554</c:v>
                </c:pt>
                <c:pt idx="76">
                  <c:v>101.16488445563554</c:v>
                </c:pt>
                <c:pt idx="77">
                  <c:v>101.16488445563554</c:v>
                </c:pt>
                <c:pt idx="78">
                  <c:v>101.30906330367587</c:v>
                </c:pt>
                <c:pt idx="79">
                  <c:v>101.30361976713925</c:v>
                </c:pt>
                <c:pt idx="80">
                  <c:v>101.24126199596782</c:v>
                </c:pt>
                <c:pt idx="81">
                  <c:v>101.17873930411876</c:v>
                </c:pt>
                <c:pt idx="82">
                  <c:v>101.15455791376201</c:v>
                </c:pt>
                <c:pt idx="83">
                  <c:v>101.15455791376201</c:v>
                </c:pt>
                <c:pt idx="84">
                  <c:v>101.15455791376201</c:v>
                </c:pt>
                <c:pt idx="85">
                  <c:v>101.21920713363392</c:v>
                </c:pt>
                <c:pt idx="86">
                  <c:v>101.32426128873009</c:v>
                </c:pt>
                <c:pt idx="87">
                  <c:v>101.39731983281314</c:v>
                </c:pt>
                <c:pt idx="88">
                  <c:v>101.39731983281314</c:v>
                </c:pt>
                <c:pt idx="89">
                  <c:v>101.50824911598345</c:v>
                </c:pt>
                <c:pt idx="90">
                  <c:v>101.50824911598345</c:v>
                </c:pt>
                <c:pt idx="91">
                  <c:v>101.50824911598345</c:v>
                </c:pt>
                <c:pt idx="92">
                  <c:v>101.57919628098853</c:v>
                </c:pt>
                <c:pt idx="93">
                  <c:v>101.55588395769934</c:v>
                </c:pt>
                <c:pt idx="94">
                  <c:v>101.60489790663426</c:v>
                </c:pt>
                <c:pt idx="95">
                  <c:v>101.75279503774816</c:v>
                </c:pt>
                <c:pt idx="96">
                  <c:v>101.81035258596398</c:v>
                </c:pt>
                <c:pt idx="97">
                  <c:v>101.82082100621591</c:v>
                </c:pt>
                <c:pt idx="98">
                  <c:v>101.82082100621591</c:v>
                </c:pt>
                <c:pt idx="99">
                  <c:v>101.73644102382447</c:v>
                </c:pt>
                <c:pt idx="100">
                  <c:v>101.78023770906246</c:v>
                </c:pt>
                <c:pt idx="101">
                  <c:v>101.89670914063332</c:v>
                </c:pt>
                <c:pt idx="102">
                  <c:v>101.92159183536056</c:v>
                </c:pt>
                <c:pt idx="103">
                  <c:v>101.96509644203985</c:v>
                </c:pt>
                <c:pt idx="104">
                  <c:v>101.96509644203985</c:v>
                </c:pt>
                <c:pt idx="105">
                  <c:v>101.96509644203985</c:v>
                </c:pt>
                <c:pt idx="106">
                  <c:v>101.9689688750865</c:v>
                </c:pt>
                <c:pt idx="107">
                  <c:v>101.93690060602269</c:v>
                </c:pt>
                <c:pt idx="108">
                  <c:v>102.02455327832467</c:v>
                </c:pt>
                <c:pt idx="109">
                  <c:v>102.05701040070123</c:v>
                </c:pt>
                <c:pt idx="110">
                  <c:v>102.05701040070123</c:v>
                </c:pt>
                <c:pt idx="111">
                  <c:v>102.05701040070123</c:v>
                </c:pt>
                <c:pt idx="112">
                  <c:v>102.03378390198884</c:v>
                </c:pt>
                <c:pt idx="113">
                  <c:v>101.99671640483707</c:v>
                </c:pt>
                <c:pt idx="114">
                  <c:v>101.95852002201492</c:v>
                </c:pt>
                <c:pt idx="115">
                  <c:v>101.75568019800745</c:v>
                </c:pt>
                <c:pt idx="116">
                  <c:v>101.52916854497867</c:v>
                </c:pt>
                <c:pt idx="117">
                  <c:v>101.52916854497867</c:v>
                </c:pt>
                <c:pt idx="118">
                  <c:v>101.52916854497867</c:v>
                </c:pt>
                <c:pt idx="119">
                  <c:v>101.67059881292589</c:v>
                </c:pt>
                <c:pt idx="120">
                  <c:v>101.67059881292589</c:v>
                </c:pt>
                <c:pt idx="121">
                  <c:v>101.80537507062729</c:v>
                </c:pt>
                <c:pt idx="122">
                  <c:v>101.97486641307891</c:v>
                </c:pt>
                <c:pt idx="123">
                  <c:v>102.04649992212347</c:v>
                </c:pt>
                <c:pt idx="124">
                  <c:v>102.04649992212347</c:v>
                </c:pt>
                <c:pt idx="125">
                  <c:v>102.04649992212347</c:v>
                </c:pt>
                <c:pt idx="126">
                  <c:v>102.0823874604426</c:v>
                </c:pt>
                <c:pt idx="127">
                  <c:v>102.0823874604426</c:v>
                </c:pt>
                <c:pt idx="128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F5-45A2-9810-E2074ADB2560}"/>
            </c:ext>
          </c:extLst>
        </c:ser>
        <c:ser>
          <c:idx val="3"/>
          <c:order val="3"/>
          <c:tx>
            <c:v>E plus</c:v>
          </c:tx>
          <c:spPr>
            <a:ln w="2222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eplus_yld!$A$2:$A$500</c:f>
              <c:numCache>
                <c:formatCode>m/d/yyyy</c:formatCode>
                <c:ptCount val="499"/>
                <c:pt idx="0">
                  <c:v>43099</c:v>
                </c:pt>
                <c:pt idx="1">
                  <c:v>43100</c:v>
                </c:pt>
                <c:pt idx="2">
                  <c:v>43101</c:v>
                </c:pt>
                <c:pt idx="3">
                  <c:v>43102</c:v>
                </c:pt>
                <c:pt idx="4">
                  <c:v>43103</c:v>
                </c:pt>
                <c:pt idx="5">
                  <c:v>43104</c:v>
                </c:pt>
                <c:pt idx="6">
                  <c:v>43105</c:v>
                </c:pt>
                <c:pt idx="7">
                  <c:v>43106</c:v>
                </c:pt>
                <c:pt idx="8">
                  <c:v>43107</c:v>
                </c:pt>
                <c:pt idx="9">
                  <c:v>43108</c:v>
                </c:pt>
                <c:pt idx="10">
                  <c:v>43109</c:v>
                </c:pt>
                <c:pt idx="11">
                  <c:v>43110</c:v>
                </c:pt>
                <c:pt idx="12">
                  <c:v>43111</c:v>
                </c:pt>
                <c:pt idx="13">
                  <c:v>43112</c:v>
                </c:pt>
                <c:pt idx="14">
                  <c:v>43113</c:v>
                </c:pt>
                <c:pt idx="15">
                  <c:v>43114</c:v>
                </c:pt>
                <c:pt idx="16">
                  <c:v>43115</c:v>
                </c:pt>
                <c:pt idx="17">
                  <c:v>43116</c:v>
                </c:pt>
                <c:pt idx="18">
                  <c:v>43117</c:v>
                </c:pt>
                <c:pt idx="19">
                  <c:v>43118</c:v>
                </c:pt>
                <c:pt idx="20">
                  <c:v>43119</c:v>
                </c:pt>
                <c:pt idx="21">
                  <c:v>43120</c:v>
                </c:pt>
                <c:pt idx="22">
                  <c:v>43121</c:v>
                </c:pt>
                <c:pt idx="23">
                  <c:v>43122</c:v>
                </c:pt>
                <c:pt idx="24">
                  <c:v>43123</c:v>
                </c:pt>
                <c:pt idx="25">
                  <c:v>43124</c:v>
                </c:pt>
                <c:pt idx="26">
                  <c:v>43125</c:v>
                </c:pt>
                <c:pt idx="27">
                  <c:v>43126</c:v>
                </c:pt>
                <c:pt idx="28">
                  <c:v>43127</c:v>
                </c:pt>
                <c:pt idx="29">
                  <c:v>43128</c:v>
                </c:pt>
                <c:pt idx="30">
                  <c:v>43129</c:v>
                </c:pt>
                <c:pt idx="31">
                  <c:v>43130</c:v>
                </c:pt>
                <c:pt idx="32">
                  <c:v>43131</c:v>
                </c:pt>
                <c:pt idx="33">
                  <c:v>43132</c:v>
                </c:pt>
                <c:pt idx="34">
                  <c:v>43133</c:v>
                </c:pt>
                <c:pt idx="35">
                  <c:v>43134</c:v>
                </c:pt>
                <c:pt idx="36">
                  <c:v>43135</c:v>
                </c:pt>
                <c:pt idx="37">
                  <c:v>43136</c:v>
                </c:pt>
                <c:pt idx="38">
                  <c:v>43137</c:v>
                </c:pt>
                <c:pt idx="39">
                  <c:v>43138</c:v>
                </c:pt>
                <c:pt idx="40">
                  <c:v>43139</c:v>
                </c:pt>
                <c:pt idx="41">
                  <c:v>43140</c:v>
                </c:pt>
                <c:pt idx="42">
                  <c:v>43141</c:v>
                </c:pt>
                <c:pt idx="43">
                  <c:v>43142</c:v>
                </c:pt>
                <c:pt idx="44">
                  <c:v>43143</c:v>
                </c:pt>
                <c:pt idx="45">
                  <c:v>43144</c:v>
                </c:pt>
                <c:pt idx="46">
                  <c:v>43145</c:v>
                </c:pt>
                <c:pt idx="47">
                  <c:v>43146</c:v>
                </c:pt>
                <c:pt idx="48">
                  <c:v>43147</c:v>
                </c:pt>
                <c:pt idx="49">
                  <c:v>43148</c:v>
                </c:pt>
                <c:pt idx="50">
                  <c:v>43149</c:v>
                </c:pt>
                <c:pt idx="51">
                  <c:v>43150</c:v>
                </c:pt>
                <c:pt idx="52">
                  <c:v>43151</c:v>
                </c:pt>
                <c:pt idx="53">
                  <c:v>43152</c:v>
                </c:pt>
                <c:pt idx="54">
                  <c:v>43153</c:v>
                </c:pt>
                <c:pt idx="55">
                  <c:v>43154</c:v>
                </c:pt>
                <c:pt idx="56">
                  <c:v>43155</c:v>
                </c:pt>
                <c:pt idx="57">
                  <c:v>43156</c:v>
                </c:pt>
                <c:pt idx="58">
                  <c:v>43157</c:v>
                </c:pt>
                <c:pt idx="59">
                  <c:v>43158</c:v>
                </c:pt>
                <c:pt idx="60">
                  <c:v>43159</c:v>
                </c:pt>
                <c:pt idx="61">
                  <c:v>43160</c:v>
                </c:pt>
                <c:pt idx="62">
                  <c:v>43161</c:v>
                </c:pt>
                <c:pt idx="63">
                  <c:v>43162</c:v>
                </c:pt>
                <c:pt idx="64">
                  <c:v>43163</c:v>
                </c:pt>
                <c:pt idx="65">
                  <c:v>43164</c:v>
                </c:pt>
                <c:pt idx="66">
                  <c:v>43165</c:v>
                </c:pt>
                <c:pt idx="67">
                  <c:v>43166</c:v>
                </c:pt>
                <c:pt idx="68">
                  <c:v>43167</c:v>
                </c:pt>
                <c:pt idx="69">
                  <c:v>43168</c:v>
                </c:pt>
                <c:pt idx="70">
                  <c:v>43169</c:v>
                </c:pt>
                <c:pt idx="71">
                  <c:v>43170</c:v>
                </c:pt>
                <c:pt idx="72">
                  <c:v>43171</c:v>
                </c:pt>
                <c:pt idx="73">
                  <c:v>43172</c:v>
                </c:pt>
                <c:pt idx="74">
                  <c:v>43173</c:v>
                </c:pt>
                <c:pt idx="75">
                  <c:v>43174</c:v>
                </c:pt>
                <c:pt idx="76">
                  <c:v>43175</c:v>
                </c:pt>
                <c:pt idx="77">
                  <c:v>43176</c:v>
                </c:pt>
                <c:pt idx="78">
                  <c:v>43177</c:v>
                </c:pt>
                <c:pt idx="79">
                  <c:v>43178</c:v>
                </c:pt>
                <c:pt idx="80">
                  <c:v>43179</c:v>
                </c:pt>
                <c:pt idx="81">
                  <c:v>43180</c:v>
                </c:pt>
                <c:pt idx="82">
                  <c:v>43181</c:v>
                </c:pt>
                <c:pt idx="83">
                  <c:v>43182</c:v>
                </c:pt>
                <c:pt idx="84">
                  <c:v>43183</c:v>
                </c:pt>
                <c:pt idx="85">
                  <c:v>43184</c:v>
                </c:pt>
                <c:pt idx="86">
                  <c:v>43185</c:v>
                </c:pt>
                <c:pt idx="87">
                  <c:v>43186</c:v>
                </c:pt>
                <c:pt idx="88">
                  <c:v>43187</c:v>
                </c:pt>
                <c:pt idx="89">
                  <c:v>43188</c:v>
                </c:pt>
                <c:pt idx="90">
                  <c:v>43189</c:v>
                </c:pt>
                <c:pt idx="91">
                  <c:v>43190</c:v>
                </c:pt>
                <c:pt idx="92">
                  <c:v>43191</c:v>
                </c:pt>
                <c:pt idx="93">
                  <c:v>43192</c:v>
                </c:pt>
                <c:pt idx="94">
                  <c:v>43193</c:v>
                </c:pt>
                <c:pt idx="95">
                  <c:v>43194</c:v>
                </c:pt>
                <c:pt idx="96">
                  <c:v>43195</c:v>
                </c:pt>
                <c:pt idx="97">
                  <c:v>43196</c:v>
                </c:pt>
                <c:pt idx="98">
                  <c:v>43197</c:v>
                </c:pt>
                <c:pt idx="99">
                  <c:v>43198</c:v>
                </c:pt>
                <c:pt idx="100">
                  <c:v>43199</c:v>
                </c:pt>
                <c:pt idx="101">
                  <c:v>43200</c:v>
                </c:pt>
                <c:pt idx="102">
                  <c:v>43201</c:v>
                </c:pt>
                <c:pt idx="103">
                  <c:v>43202</c:v>
                </c:pt>
                <c:pt idx="104">
                  <c:v>43203</c:v>
                </c:pt>
                <c:pt idx="105">
                  <c:v>43204</c:v>
                </c:pt>
                <c:pt idx="106">
                  <c:v>43205</c:v>
                </c:pt>
                <c:pt idx="107">
                  <c:v>43206</c:v>
                </c:pt>
                <c:pt idx="108">
                  <c:v>43207</c:v>
                </c:pt>
                <c:pt idx="109">
                  <c:v>43208</c:v>
                </c:pt>
                <c:pt idx="110">
                  <c:v>43209</c:v>
                </c:pt>
                <c:pt idx="111">
                  <c:v>43210</c:v>
                </c:pt>
                <c:pt idx="112">
                  <c:v>43211</c:v>
                </c:pt>
                <c:pt idx="113">
                  <c:v>43212</c:v>
                </c:pt>
                <c:pt idx="114">
                  <c:v>43213</c:v>
                </c:pt>
                <c:pt idx="115">
                  <c:v>43214</c:v>
                </c:pt>
                <c:pt idx="116">
                  <c:v>43215</c:v>
                </c:pt>
                <c:pt idx="117">
                  <c:v>43216</c:v>
                </c:pt>
                <c:pt idx="118">
                  <c:v>43217</c:v>
                </c:pt>
                <c:pt idx="119">
                  <c:v>43218</c:v>
                </c:pt>
                <c:pt idx="120">
                  <c:v>43219</c:v>
                </c:pt>
                <c:pt idx="121">
                  <c:v>43220</c:v>
                </c:pt>
                <c:pt idx="122">
                  <c:v>43221</c:v>
                </c:pt>
                <c:pt idx="123">
                  <c:v>43222</c:v>
                </c:pt>
                <c:pt idx="124">
                  <c:v>43223</c:v>
                </c:pt>
                <c:pt idx="125">
                  <c:v>43224</c:v>
                </c:pt>
                <c:pt idx="126">
                  <c:v>43225</c:v>
                </c:pt>
                <c:pt idx="127">
                  <c:v>43226</c:v>
                </c:pt>
                <c:pt idx="128">
                  <c:v>43098</c:v>
                </c:pt>
              </c:numCache>
            </c:numRef>
          </c:cat>
          <c:val>
            <c:numRef>
              <c:f>eplus_yld!$E$2:$E$500</c:f>
              <c:numCache>
                <c:formatCode>General</c:formatCode>
                <c:ptCount val="499"/>
                <c:pt idx="0">
                  <c:v>100.01092424309162</c:v>
                </c:pt>
                <c:pt idx="1">
                  <c:v>100.02118365484269</c:v>
                </c:pt>
                <c:pt idx="2">
                  <c:v>100.03210687854542</c:v>
                </c:pt>
                <c:pt idx="3">
                  <c:v>100.07159036969259</c:v>
                </c:pt>
                <c:pt idx="4">
                  <c:v>100.08118250687353</c:v>
                </c:pt>
                <c:pt idx="5">
                  <c:v>99.883629106099178</c:v>
                </c:pt>
                <c:pt idx="6">
                  <c:v>100.02894702666615</c:v>
                </c:pt>
                <c:pt idx="7">
                  <c:v>100.03987102702033</c:v>
                </c:pt>
                <c:pt idx="8">
                  <c:v>100.0507944934089</c:v>
                </c:pt>
                <c:pt idx="9">
                  <c:v>100.043783303918</c:v>
                </c:pt>
                <c:pt idx="10">
                  <c:v>100.07397163585375</c:v>
                </c:pt>
                <c:pt idx="11">
                  <c:v>99.712985716580832</c:v>
                </c:pt>
                <c:pt idx="12">
                  <c:v>99.755262120542938</c:v>
                </c:pt>
                <c:pt idx="13">
                  <c:v>99.765541494321951</c:v>
                </c:pt>
                <c:pt idx="14">
                  <c:v>99.776486673333963</c:v>
                </c:pt>
                <c:pt idx="15">
                  <c:v>99.787431315280941</c:v>
                </c:pt>
                <c:pt idx="16">
                  <c:v>99.890304328552517</c:v>
                </c:pt>
                <c:pt idx="17">
                  <c:v>99.899910185602309</c:v>
                </c:pt>
                <c:pt idx="18">
                  <c:v>100.0951765434389</c:v>
                </c:pt>
                <c:pt idx="19">
                  <c:v>100.03702440805137</c:v>
                </c:pt>
                <c:pt idx="20">
                  <c:v>99.997442579654901</c:v>
                </c:pt>
                <c:pt idx="21">
                  <c:v>100.00770777735258</c:v>
                </c:pt>
                <c:pt idx="22">
                  <c:v>100.02063185994398</c:v>
                </c:pt>
                <c:pt idx="23">
                  <c:v>100.00496997245655</c:v>
                </c:pt>
                <c:pt idx="24">
                  <c:v>100.14755010073087</c:v>
                </c:pt>
                <c:pt idx="25">
                  <c:v>100.32512808163457</c:v>
                </c:pt>
                <c:pt idx="26">
                  <c:v>100.57862852608869</c:v>
                </c:pt>
                <c:pt idx="27">
                  <c:v>100.57166624222225</c:v>
                </c:pt>
                <c:pt idx="28">
                  <c:v>100.58321756165439</c:v>
                </c:pt>
                <c:pt idx="29">
                  <c:v>100.59344587626269</c:v>
                </c:pt>
                <c:pt idx="30">
                  <c:v>100.43971006375442</c:v>
                </c:pt>
                <c:pt idx="31">
                  <c:v>100.35790452416136</c:v>
                </c:pt>
                <c:pt idx="32">
                  <c:v>100.34614067995277</c:v>
                </c:pt>
                <c:pt idx="33">
                  <c:v>100.30255756530796</c:v>
                </c:pt>
                <c:pt idx="34">
                  <c:v>100.15218270148392</c:v>
                </c:pt>
                <c:pt idx="35">
                  <c:v>100.16363239795955</c:v>
                </c:pt>
                <c:pt idx="36">
                  <c:v>100.17441732513588</c:v>
                </c:pt>
                <c:pt idx="37">
                  <c:v>100.17922494836539</c:v>
                </c:pt>
                <c:pt idx="38">
                  <c:v>100.3195042144787</c:v>
                </c:pt>
                <c:pt idx="39">
                  <c:v>100.22682408141236</c:v>
                </c:pt>
                <c:pt idx="40">
                  <c:v>100.50246475912198</c:v>
                </c:pt>
                <c:pt idx="41">
                  <c:v>100.54103053677787</c:v>
                </c:pt>
                <c:pt idx="42">
                  <c:v>100.56370143341904</c:v>
                </c:pt>
                <c:pt idx="43">
                  <c:v>100.5857070006798</c:v>
                </c:pt>
                <c:pt idx="44">
                  <c:v>100.55809480514188</c:v>
                </c:pt>
                <c:pt idx="45">
                  <c:v>100.67870049545924</c:v>
                </c:pt>
                <c:pt idx="46">
                  <c:v>100.74034407610961</c:v>
                </c:pt>
                <c:pt idx="47">
                  <c:v>100.65662805176004</c:v>
                </c:pt>
                <c:pt idx="48">
                  <c:v>100.61184367920426</c:v>
                </c:pt>
                <c:pt idx="49">
                  <c:v>100.63252128708757</c:v>
                </c:pt>
                <c:pt idx="50">
                  <c:v>100.65385729150505</c:v>
                </c:pt>
                <c:pt idx="51">
                  <c:v>100.72941143674649</c:v>
                </c:pt>
                <c:pt idx="52">
                  <c:v>100.84125544301989</c:v>
                </c:pt>
                <c:pt idx="53">
                  <c:v>100.92328015760728</c:v>
                </c:pt>
                <c:pt idx="54">
                  <c:v>100.9867764935327</c:v>
                </c:pt>
                <c:pt idx="55">
                  <c:v>100.93488897462218</c:v>
                </c:pt>
                <c:pt idx="56">
                  <c:v>100.95617481191482</c:v>
                </c:pt>
                <c:pt idx="57">
                  <c:v>100.97745747909839</c:v>
                </c:pt>
                <c:pt idx="58">
                  <c:v>100.983573975027</c:v>
                </c:pt>
                <c:pt idx="59">
                  <c:v>100.89607781250196</c:v>
                </c:pt>
                <c:pt idx="60">
                  <c:v>100.94739710074192</c:v>
                </c:pt>
                <c:pt idx="61">
                  <c:v>101.06926250102192</c:v>
                </c:pt>
                <c:pt idx="62">
                  <c:v>101.14355755632576</c:v>
                </c:pt>
                <c:pt idx="63">
                  <c:v>101.16513996488673</c:v>
                </c:pt>
                <c:pt idx="64">
                  <c:v>101.18540266772004</c:v>
                </c:pt>
                <c:pt idx="65">
                  <c:v>101.16552188508642</c:v>
                </c:pt>
                <c:pt idx="66">
                  <c:v>101.16077424775322</c:v>
                </c:pt>
                <c:pt idx="67">
                  <c:v>101.21790106470245</c:v>
                </c:pt>
                <c:pt idx="68">
                  <c:v>101.18618355797732</c:v>
                </c:pt>
                <c:pt idx="69">
                  <c:v>101.1116760967009</c:v>
                </c:pt>
                <c:pt idx="70">
                  <c:v>101.12009583254462</c:v>
                </c:pt>
                <c:pt idx="71">
                  <c:v>101.12719809744952</c:v>
                </c:pt>
                <c:pt idx="72">
                  <c:v>101.21530439471999</c:v>
                </c:pt>
                <c:pt idx="73">
                  <c:v>101.26319986984451</c:v>
                </c:pt>
                <c:pt idx="74">
                  <c:v>101.31831022354957</c:v>
                </c:pt>
                <c:pt idx="75">
                  <c:v>101.43715904153395</c:v>
                </c:pt>
                <c:pt idx="76">
                  <c:v>101.54536829661831</c:v>
                </c:pt>
                <c:pt idx="77">
                  <c:v>101.55442232415359</c:v>
                </c:pt>
                <c:pt idx="78">
                  <c:v>101.5621642267416</c:v>
                </c:pt>
                <c:pt idx="79">
                  <c:v>101.60597811540887</c:v>
                </c:pt>
                <c:pt idx="80">
                  <c:v>101.5435696463157</c:v>
                </c:pt>
                <c:pt idx="81">
                  <c:v>101.48046214737747</c:v>
                </c:pt>
                <c:pt idx="82">
                  <c:v>101.56107470859317</c:v>
                </c:pt>
                <c:pt idx="83">
                  <c:v>101.72886845916544</c:v>
                </c:pt>
                <c:pt idx="84">
                  <c:v>101.73660323598834</c:v>
                </c:pt>
                <c:pt idx="85">
                  <c:v>101.74368296243019</c:v>
                </c:pt>
                <c:pt idx="86">
                  <c:v>101.86077137450049</c:v>
                </c:pt>
                <c:pt idx="87">
                  <c:v>101.93914002802357</c:v>
                </c:pt>
                <c:pt idx="88">
                  <c:v>102.10045651254202</c:v>
                </c:pt>
                <c:pt idx="89">
                  <c:v>102.07228500961871</c:v>
                </c:pt>
                <c:pt idx="90">
                  <c:v>102.07935219476562</c:v>
                </c:pt>
                <c:pt idx="91">
                  <c:v>102.08718154004184</c:v>
                </c:pt>
                <c:pt idx="92">
                  <c:v>102.09435798191363</c:v>
                </c:pt>
                <c:pt idx="93">
                  <c:v>102.12959904130823</c:v>
                </c:pt>
                <c:pt idx="94">
                  <c:v>102.19745289768007</c:v>
                </c:pt>
                <c:pt idx="95">
                  <c:v>102.33894549323843</c:v>
                </c:pt>
                <c:pt idx="96">
                  <c:v>102.37671614311365</c:v>
                </c:pt>
                <c:pt idx="97">
                  <c:v>102.32920508336238</c:v>
                </c:pt>
                <c:pt idx="98">
                  <c:v>102.33507033805812</c:v>
                </c:pt>
                <c:pt idx="99">
                  <c:v>102.34223798132922</c:v>
                </c:pt>
                <c:pt idx="100">
                  <c:v>102.40801372136764</c:v>
                </c:pt>
                <c:pt idx="101">
                  <c:v>102.46268687328995</c:v>
                </c:pt>
                <c:pt idx="102">
                  <c:v>102.47570406979911</c:v>
                </c:pt>
                <c:pt idx="103">
                  <c:v>102.51863862443147</c:v>
                </c:pt>
                <c:pt idx="104">
                  <c:v>102.50694567598464</c:v>
                </c:pt>
                <c:pt idx="105">
                  <c:v>102.51930927267003</c:v>
                </c:pt>
                <c:pt idx="106">
                  <c:v>102.53102186257721</c:v>
                </c:pt>
                <c:pt idx="107">
                  <c:v>102.55768657169027</c:v>
                </c:pt>
                <c:pt idx="108">
                  <c:v>102.63504354835962</c:v>
                </c:pt>
                <c:pt idx="109">
                  <c:v>102.64739667989261</c:v>
                </c:pt>
                <c:pt idx="110">
                  <c:v>102.66689272321338</c:v>
                </c:pt>
                <c:pt idx="111">
                  <c:v>102.62340157191684</c:v>
                </c:pt>
                <c:pt idx="112">
                  <c:v>102.63575665275472</c:v>
                </c:pt>
                <c:pt idx="113">
                  <c:v>102.64746133652802</c:v>
                </c:pt>
                <c:pt idx="114">
                  <c:v>102.58447106653171</c:v>
                </c:pt>
                <c:pt idx="115">
                  <c:v>102.46359170616378</c:v>
                </c:pt>
                <c:pt idx="116">
                  <c:v>102.284640979798</c:v>
                </c:pt>
                <c:pt idx="117">
                  <c:v>102.40655460344594</c:v>
                </c:pt>
                <c:pt idx="118">
                  <c:v>102.54851384206006</c:v>
                </c:pt>
                <c:pt idx="119">
                  <c:v>102.56152812005132</c:v>
                </c:pt>
                <c:pt idx="120">
                  <c:v>102.5725908361883</c:v>
                </c:pt>
                <c:pt idx="121">
                  <c:v>102.67576284256872</c:v>
                </c:pt>
                <c:pt idx="122">
                  <c:v>102.68920407320061</c:v>
                </c:pt>
                <c:pt idx="123">
                  <c:v>102.79551476480091</c:v>
                </c:pt>
                <c:pt idx="124">
                  <c:v>102.88874471792541</c:v>
                </c:pt>
                <c:pt idx="125">
                  <c:v>103.0058778866107</c:v>
                </c:pt>
                <c:pt idx="126">
                  <c:v>103.01799353466298</c:v>
                </c:pt>
                <c:pt idx="127">
                  <c:v>103.03075588273707</c:v>
                </c:pt>
                <c:pt idx="128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4F5-45A2-9810-E2074ADB2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0022544"/>
        <c:axId val="839646960"/>
      </c:lineChart>
      <c:dateAx>
        <c:axId val="790022544"/>
        <c:scaling>
          <c:orientation val="minMax"/>
        </c:scaling>
        <c:delete val="0"/>
        <c:axPos val="b"/>
        <c:numFmt formatCode="[$]dd/mmm;@" c16r2:formatcode2="[$-en-ES]dd/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839646960"/>
        <c:crosses val="autoZero"/>
        <c:auto val="1"/>
        <c:lblOffset val="100"/>
        <c:baseTimeUnit val="days"/>
        <c:majorUnit val="7"/>
        <c:majorTimeUnit val="days"/>
        <c:minorUnit val="15"/>
        <c:minorTimeUnit val="days"/>
      </c:dateAx>
      <c:valAx>
        <c:axId val="839646960"/>
        <c:scaling>
          <c:orientation val="minMax"/>
          <c:min val="99.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790022544"/>
        <c:crosses val="autoZero"/>
        <c:crossBetween val="between"/>
        <c:majorUnit val="0.5"/>
        <c:minorUnit val="0.1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s-MX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s-MX" dirty="0"/>
              <a:t>12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s-MX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eplus_yld_12m!$B$1</c:f>
              <c:strCache>
                <c:ptCount val="1"/>
                <c:pt idx="0">
                  <c:v>Max</c:v>
                </c:pt>
              </c:strCache>
            </c:strRef>
          </c:tx>
          <c:spPr>
            <a:solidFill>
              <a:schemeClr val="accent3"/>
            </a:solidFill>
            <a:ln w="31750">
              <a:noFill/>
            </a:ln>
            <a:effectLst/>
          </c:spPr>
          <c:cat>
            <c:numRef>
              <c:f>eplus_yld_12m!$A$2:$A$500</c:f>
              <c:numCache>
                <c:formatCode>m/d/yyyy</c:formatCode>
                <c:ptCount val="499"/>
                <c:pt idx="0">
                  <c:v>42861</c:v>
                </c:pt>
                <c:pt idx="1">
                  <c:v>42862</c:v>
                </c:pt>
                <c:pt idx="2">
                  <c:v>42863</c:v>
                </c:pt>
                <c:pt idx="3">
                  <c:v>42864</c:v>
                </c:pt>
                <c:pt idx="4">
                  <c:v>42865</c:v>
                </c:pt>
                <c:pt idx="5">
                  <c:v>42866</c:v>
                </c:pt>
                <c:pt idx="6">
                  <c:v>42867</c:v>
                </c:pt>
                <c:pt idx="7">
                  <c:v>42868</c:v>
                </c:pt>
                <c:pt idx="8">
                  <c:v>42869</c:v>
                </c:pt>
                <c:pt idx="9">
                  <c:v>42870</c:v>
                </c:pt>
                <c:pt idx="10">
                  <c:v>42871</c:v>
                </c:pt>
                <c:pt idx="11">
                  <c:v>42872</c:v>
                </c:pt>
                <c:pt idx="12">
                  <c:v>42873</c:v>
                </c:pt>
                <c:pt idx="13">
                  <c:v>42874</c:v>
                </c:pt>
                <c:pt idx="14">
                  <c:v>42875</c:v>
                </c:pt>
                <c:pt idx="15">
                  <c:v>42876</c:v>
                </c:pt>
                <c:pt idx="16">
                  <c:v>42877</c:v>
                </c:pt>
                <c:pt idx="17">
                  <c:v>42878</c:v>
                </c:pt>
                <c:pt idx="18">
                  <c:v>42879</c:v>
                </c:pt>
                <c:pt idx="19">
                  <c:v>42880</c:v>
                </c:pt>
                <c:pt idx="20">
                  <c:v>42881</c:v>
                </c:pt>
                <c:pt idx="21">
                  <c:v>42882</c:v>
                </c:pt>
                <c:pt idx="22">
                  <c:v>42883</c:v>
                </c:pt>
                <c:pt idx="23">
                  <c:v>42884</c:v>
                </c:pt>
                <c:pt idx="24">
                  <c:v>42885</c:v>
                </c:pt>
                <c:pt idx="25">
                  <c:v>42886</c:v>
                </c:pt>
                <c:pt idx="26">
                  <c:v>42887</c:v>
                </c:pt>
                <c:pt idx="27">
                  <c:v>42888</c:v>
                </c:pt>
                <c:pt idx="28">
                  <c:v>42889</c:v>
                </c:pt>
                <c:pt idx="29">
                  <c:v>42890</c:v>
                </c:pt>
                <c:pt idx="30">
                  <c:v>42891</c:v>
                </c:pt>
                <c:pt idx="31">
                  <c:v>42892</c:v>
                </c:pt>
                <c:pt idx="32">
                  <c:v>42893</c:v>
                </c:pt>
                <c:pt idx="33">
                  <c:v>42894</c:v>
                </c:pt>
                <c:pt idx="34">
                  <c:v>42895</c:v>
                </c:pt>
                <c:pt idx="35">
                  <c:v>42896</c:v>
                </c:pt>
                <c:pt idx="36">
                  <c:v>42897</c:v>
                </c:pt>
                <c:pt idx="37">
                  <c:v>42898</c:v>
                </c:pt>
                <c:pt idx="38">
                  <c:v>42899</c:v>
                </c:pt>
                <c:pt idx="39">
                  <c:v>42900</c:v>
                </c:pt>
                <c:pt idx="40">
                  <c:v>42901</c:v>
                </c:pt>
                <c:pt idx="41">
                  <c:v>42902</c:v>
                </c:pt>
                <c:pt idx="42">
                  <c:v>42903</c:v>
                </c:pt>
                <c:pt idx="43">
                  <c:v>42904</c:v>
                </c:pt>
                <c:pt idx="44">
                  <c:v>42905</c:v>
                </c:pt>
                <c:pt idx="45">
                  <c:v>42906</c:v>
                </c:pt>
                <c:pt idx="46">
                  <c:v>42907</c:v>
                </c:pt>
                <c:pt idx="47">
                  <c:v>42908</c:v>
                </c:pt>
                <c:pt idx="48">
                  <c:v>42909</c:v>
                </c:pt>
                <c:pt idx="49">
                  <c:v>42910</c:v>
                </c:pt>
                <c:pt idx="50">
                  <c:v>42911</c:v>
                </c:pt>
                <c:pt idx="51">
                  <c:v>42912</c:v>
                </c:pt>
                <c:pt idx="52">
                  <c:v>42913</c:v>
                </c:pt>
                <c:pt idx="53">
                  <c:v>42914</c:v>
                </c:pt>
                <c:pt idx="54">
                  <c:v>42915</c:v>
                </c:pt>
                <c:pt idx="55">
                  <c:v>42916</c:v>
                </c:pt>
                <c:pt idx="56">
                  <c:v>42917</c:v>
                </c:pt>
                <c:pt idx="57">
                  <c:v>42918</c:v>
                </c:pt>
                <c:pt idx="58">
                  <c:v>42919</c:v>
                </c:pt>
                <c:pt idx="59">
                  <c:v>42920</c:v>
                </c:pt>
                <c:pt idx="60">
                  <c:v>42921</c:v>
                </c:pt>
                <c:pt idx="61">
                  <c:v>42922</c:v>
                </c:pt>
                <c:pt idx="62">
                  <c:v>42923</c:v>
                </c:pt>
                <c:pt idx="63">
                  <c:v>42924</c:v>
                </c:pt>
                <c:pt idx="64">
                  <c:v>42925</c:v>
                </c:pt>
                <c:pt idx="65">
                  <c:v>42926</c:v>
                </c:pt>
                <c:pt idx="66">
                  <c:v>42927</c:v>
                </c:pt>
                <c:pt idx="67">
                  <c:v>42928</c:v>
                </c:pt>
                <c:pt idx="68">
                  <c:v>42929</c:v>
                </c:pt>
                <c:pt idx="69">
                  <c:v>42930</c:v>
                </c:pt>
                <c:pt idx="70">
                  <c:v>42931</c:v>
                </c:pt>
                <c:pt idx="71">
                  <c:v>42932</c:v>
                </c:pt>
                <c:pt idx="72">
                  <c:v>42933</c:v>
                </c:pt>
                <c:pt idx="73">
                  <c:v>42934</c:v>
                </c:pt>
                <c:pt idx="74">
                  <c:v>42935</c:v>
                </c:pt>
                <c:pt idx="75">
                  <c:v>42936</c:v>
                </c:pt>
                <c:pt idx="76">
                  <c:v>42937</c:v>
                </c:pt>
                <c:pt idx="77">
                  <c:v>42938</c:v>
                </c:pt>
                <c:pt idx="78">
                  <c:v>42939</c:v>
                </c:pt>
                <c:pt idx="79">
                  <c:v>42940</c:v>
                </c:pt>
                <c:pt idx="80">
                  <c:v>42941</c:v>
                </c:pt>
                <c:pt idx="81">
                  <c:v>42942</c:v>
                </c:pt>
                <c:pt idx="82">
                  <c:v>42943</c:v>
                </c:pt>
                <c:pt idx="83">
                  <c:v>42944</c:v>
                </c:pt>
                <c:pt idx="84">
                  <c:v>42945</c:v>
                </c:pt>
                <c:pt idx="85">
                  <c:v>42946</c:v>
                </c:pt>
                <c:pt idx="86">
                  <c:v>42947</c:v>
                </c:pt>
                <c:pt idx="87">
                  <c:v>42948</c:v>
                </c:pt>
                <c:pt idx="88">
                  <c:v>42949</c:v>
                </c:pt>
                <c:pt idx="89">
                  <c:v>42950</c:v>
                </c:pt>
                <c:pt idx="90">
                  <c:v>42951</c:v>
                </c:pt>
                <c:pt idx="91">
                  <c:v>42952</c:v>
                </c:pt>
                <c:pt idx="92">
                  <c:v>42953</c:v>
                </c:pt>
                <c:pt idx="93">
                  <c:v>42954</c:v>
                </c:pt>
                <c:pt idx="94">
                  <c:v>42955</c:v>
                </c:pt>
                <c:pt idx="95">
                  <c:v>42956</c:v>
                </c:pt>
                <c:pt idx="96">
                  <c:v>42957</c:v>
                </c:pt>
                <c:pt idx="97">
                  <c:v>42958</c:v>
                </c:pt>
                <c:pt idx="98">
                  <c:v>42959</c:v>
                </c:pt>
                <c:pt idx="99">
                  <c:v>42960</c:v>
                </c:pt>
                <c:pt idx="100">
                  <c:v>42961</c:v>
                </c:pt>
                <c:pt idx="101">
                  <c:v>42962</c:v>
                </c:pt>
                <c:pt idx="102">
                  <c:v>42963</c:v>
                </c:pt>
                <c:pt idx="103">
                  <c:v>42964</c:v>
                </c:pt>
                <c:pt idx="104">
                  <c:v>42965</c:v>
                </c:pt>
                <c:pt idx="105">
                  <c:v>42966</c:v>
                </c:pt>
                <c:pt idx="106">
                  <c:v>42967</c:v>
                </c:pt>
                <c:pt idx="107">
                  <c:v>42968</c:v>
                </c:pt>
                <c:pt idx="108">
                  <c:v>42969</c:v>
                </c:pt>
                <c:pt idx="109">
                  <c:v>42970</c:v>
                </c:pt>
                <c:pt idx="110">
                  <c:v>42971</c:v>
                </c:pt>
                <c:pt idx="111">
                  <c:v>42972</c:v>
                </c:pt>
                <c:pt idx="112">
                  <c:v>42973</c:v>
                </c:pt>
                <c:pt idx="113">
                  <c:v>42974</c:v>
                </c:pt>
                <c:pt idx="114">
                  <c:v>42975</c:v>
                </c:pt>
                <c:pt idx="115">
                  <c:v>42976</c:v>
                </c:pt>
                <c:pt idx="116">
                  <c:v>42977</c:v>
                </c:pt>
                <c:pt idx="117">
                  <c:v>42978</c:v>
                </c:pt>
                <c:pt idx="118">
                  <c:v>42979</c:v>
                </c:pt>
                <c:pt idx="119">
                  <c:v>42980</c:v>
                </c:pt>
                <c:pt idx="120">
                  <c:v>42981</c:v>
                </c:pt>
                <c:pt idx="121">
                  <c:v>42982</c:v>
                </c:pt>
                <c:pt idx="122">
                  <c:v>42983</c:v>
                </c:pt>
                <c:pt idx="123">
                  <c:v>42984</c:v>
                </c:pt>
                <c:pt idx="124">
                  <c:v>42985</c:v>
                </c:pt>
                <c:pt idx="125">
                  <c:v>42986</c:v>
                </c:pt>
                <c:pt idx="126">
                  <c:v>42987</c:v>
                </c:pt>
                <c:pt idx="127">
                  <c:v>42988</c:v>
                </c:pt>
                <c:pt idx="128">
                  <c:v>42989</c:v>
                </c:pt>
                <c:pt idx="129">
                  <c:v>42990</c:v>
                </c:pt>
                <c:pt idx="130">
                  <c:v>42991</c:v>
                </c:pt>
                <c:pt idx="131">
                  <c:v>42992</c:v>
                </c:pt>
                <c:pt idx="132">
                  <c:v>42993</c:v>
                </c:pt>
                <c:pt idx="133">
                  <c:v>42994</c:v>
                </c:pt>
                <c:pt idx="134">
                  <c:v>42995</c:v>
                </c:pt>
                <c:pt idx="135">
                  <c:v>42996</c:v>
                </c:pt>
                <c:pt idx="136">
                  <c:v>42997</c:v>
                </c:pt>
                <c:pt idx="137">
                  <c:v>42998</c:v>
                </c:pt>
                <c:pt idx="138">
                  <c:v>42999</c:v>
                </c:pt>
                <c:pt idx="139">
                  <c:v>43000</c:v>
                </c:pt>
                <c:pt idx="140">
                  <c:v>43001</c:v>
                </c:pt>
                <c:pt idx="141">
                  <c:v>43002</c:v>
                </c:pt>
                <c:pt idx="142">
                  <c:v>43003</c:v>
                </c:pt>
                <c:pt idx="143">
                  <c:v>43004</c:v>
                </c:pt>
                <c:pt idx="144">
                  <c:v>43005</c:v>
                </c:pt>
                <c:pt idx="145">
                  <c:v>43006</c:v>
                </c:pt>
                <c:pt idx="146">
                  <c:v>43007</c:v>
                </c:pt>
                <c:pt idx="147">
                  <c:v>43008</c:v>
                </c:pt>
                <c:pt idx="148">
                  <c:v>43009</c:v>
                </c:pt>
                <c:pt idx="149">
                  <c:v>43010</c:v>
                </c:pt>
                <c:pt idx="150">
                  <c:v>43011</c:v>
                </c:pt>
                <c:pt idx="151">
                  <c:v>43012</c:v>
                </c:pt>
                <c:pt idx="152">
                  <c:v>43013</c:v>
                </c:pt>
                <c:pt idx="153">
                  <c:v>43014</c:v>
                </c:pt>
                <c:pt idx="154">
                  <c:v>43015</c:v>
                </c:pt>
                <c:pt idx="155">
                  <c:v>43016</c:v>
                </c:pt>
                <c:pt idx="156">
                  <c:v>43017</c:v>
                </c:pt>
                <c:pt idx="157">
                  <c:v>43018</c:v>
                </c:pt>
                <c:pt idx="158">
                  <c:v>43019</c:v>
                </c:pt>
                <c:pt idx="159">
                  <c:v>43020</c:v>
                </c:pt>
                <c:pt idx="160">
                  <c:v>43021</c:v>
                </c:pt>
                <c:pt idx="161">
                  <c:v>43022</c:v>
                </c:pt>
                <c:pt idx="162">
                  <c:v>43023</c:v>
                </c:pt>
                <c:pt idx="163">
                  <c:v>43024</c:v>
                </c:pt>
                <c:pt idx="164">
                  <c:v>43025</c:v>
                </c:pt>
                <c:pt idx="165">
                  <c:v>43026</c:v>
                </c:pt>
                <c:pt idx="166">
                  <c:v>43027</c:v>
                </c:pt>
                <c:pt idx="167">
                  <c:v>43028</c:v>
                </c:pt>
                <c:pt idx="168">
                  <c:v>43029</c:v>
                </c:pt>
                <c:pt idx="169">
                  <c:v>43030</c:v>
                </c:pt>
                <c:pt idx="170">
                  <c:v>43031</c:v>
                </c:pt>
                <c:pt idx="171">
                  <c:v>43032</c:v>
                </c:pt>
                <c:pt idx="172">
                  <c:v>43033</c:v>
                </c:pt>
                <c:pt idx="173">
                  <c:v>43034</c:v>
                </c:pt>
                <c:pt idx="174">
                  <c:v>43035</c:v>
                </c:pt>
                <c:pt idx="175">
                  <c:v>43036</c:v>
                </c:pt>
                <c:pt idx="176">
                  <c:v>43037</c:v>
                </c:pt>
                <c:pt idx="177">
                  <c:v>43038</c:v>
                </c:pt>
                <c:pt idx="178">
                  <c:v>43039</c:v>
                </c:pt>
                <c:pt idx="179">
                  <c:v>43040</c:v>
                </c:pt>
                <c:pt idx="180">
                  <c:v>43041</c:v>
                </c:pt>
                <c:pt idx="181">
                  <c:v>43042</c:v>
                </c:pt>
                <c:pt idx="182">
                  <c:v>43043</c:v>
                </c:pt>
                <c:pt idx="183">
                  <c:v>43044</c:v>
                </c:pt>
                <c:pt idx="184">
                  <c:v>43045</c:v>
                </c:pt>
                <c:pt idx="185">
                  <c:v>43046</c:v>
                </c:pt>
                <c:pt idx="186">
                  <c:v>43047</c:v>
                </c:pt>
                <c:pt idx="187">
                  <c:v>43048</c:v>
                </c:pt>
                <c:pt idx="188">
                  <c:v>43049</c:v>
                </c:pt>
                <c:pt idx="189">
                  <c:v>43050</c:v>
                </c:pt>
                <c:pt idx="190">
                  <c:v>43051</c:v>
                </c:pt>
                <c:pt idx="191">
                  <c:v>43052</c:v>
                </c:pt>
                <c:pt idx="192">
                  <c:v>43053</c:v>
                </c:pt>
                <c:pt idx="193">
                  <c:v>43054</c:v>
                </c:pt>
                <c:pt idx="194">
                  <c:v>43055</c:v>
                </c:pt>
                <c:pt idx="195">
                  <c:v>43056</c:v>
                </c:pt>
                <c:pt idx="196">
                  <c:v>43057</c:v>
                </c:pt>
                <c:pt idx="197">
                  <c:v>43058</c:v>
                </c:pt>
                <c:pt idx="198">
                  <c:v>43059</c:v>
                </c:pt>
                <c:pt idx="199">
                  <c:v>43060</c:v>
                </c:pt>
                <c:pt idx="200">
                  <c:v>43061</c:v>
                </c:pt>
                <c:pt idx="201">
                  <c:v>43062</c:v>
                </c:pt>
                <c:pt idx="202">
                  <c:v>43063</c:v>
                </c:pt>
                <c:pt idx="203">
                  <c:v>43064</c:v>
                </c:pt>
                <c:pt idx="204">
                  <c:v>43065</c:v>
                </c:pt>
                <c:pt idx="205">
                  <c:v>43066</c:v>
                </c:pt>
                <c:pt idx="206">
                  <c:v>43067</c:v>
                </c:pt>
                <c:pt idx="207">
                  <c:v>43068</c:v>
                </c:pt>
                <c:pt idx="208">
                  <c:v>43069</c:v>
                </c:pt>
                <c:pt idx="209">
                  <c:v>43070</c:v>
                </c:pt>
                <c:pt idx="210">
                  <c:v>43071</c:v>
                </c:pt>
                <c:pt idx="211">
                  <c:v>43072</c:v>
                </c:pt>
                <c:pt idx="212">
                  <c:v>43073</c:v>
                </c:pt>
                <c:pt idx="213">
                  <c:v>43074</c:v>
                </c:pt>
                <c:pt idx="214">
                  <c:v>43075</c:v>
                </c:pt>
                <c:pt idx="215">
                  <c:v>43076</c:v>
                </c:pt>
                <c:pt idx="216">
                  <c:v>43077</c:v>
                </c:pt>
                <c:pt idx="217">
                  <c:v>43078</c:v>
                </c:pt>
                <c:pt idx="218">
                  <c:v>43079</c:v>
                </c:pt>
                <c:pt idx="219">
                  <c:v>43080</c:v>
                </c:pt>
                <c:pt idx="220">
                  <c:v>43081</c:v>
                </c:pt>
                <c:pt idx="221">
                  <c:v>43082</c:v>
                </c:pt>
                <c:pt idx="222">
                  <c:v>43083</c:v>
                </c:pt>
                <c:pt idx="223">
                  <c:v>43084</c:v>
                </c:pt>
                <c:pt idx="224">
                  <c:v>43085</c:v>
                </c:pt>
                <c:pt idx="225">
                  <c:v>43086</c:v>
                </c:pt>
                <c:pt idx="226">
                  <c:v>43087</c:v>
                </c:pt>
                <c:pt idx="227">
                  <c:v>43088</c:v>
                </c:pt>
                <c:pt idx="228">
                  <c:v>43089</c:v>
                </c:pt>
                <c:pt idx="229">
                  <c:v>43090</c:v>
                </c:pt>
                <c:pt idx="230">
                  <c:v>43091</c:v>
                </c:pt>
                <c:pt idx="231">
                  <c:v>43092</c:v>
                </c:pt>
                <c:pt idx="232">
                  <c:v>43093</c:v>
                </c:pt>
                <c:pt idx="233">
                  <c:v>43094</c:v>
                </c:pt>
                <c:pt idx="234">
                  <c:v>43095</c:v>
                </c:pt>
                <c:pt idx="235">
                  <c:v>43096</c:v>
                </c:pt>
                <c:pt idx="236">
                  <c:v>43097</c:v>
                </c:pt>
                <c:pt idx="237">
                  <c:v>43098</c:v>
                </c:pt>
                <c:pt idx="238">
                  <c:v>43099</c:v>
                </c:pt>
                <c:pt idx="239">
                  <c:v>43100</c:v>
                </c:pt>
                <c:pt idx="240">
                  <c:v>43101</c:v>
                </c:pt>
                <c:pt idx="241">
                  <c:v>43102</c:v>
                </c:pt>
                <c:pt idx="242">
                  <c:v>43103</c:v>
                </c:pt>
                <c:pt idx="243">
                  <c:v>43104</c:v>
                </c:pt>
                <c:pt idx="244">
                  <c:v>43105</c:v>
                </c:pt>
                <c:pt idx="245">
                  <c:v>43106</c:v>
                </c:pt>
                <c:pt idx="246">
                  <c:v>43107</c:v>
                </c:pt>
                <c:pt idx="247">
                  <c:v>43108</c:v>
                </c:pt>
                <c:pt idx="248">
                  <c:v>43109</c:v>
                </c:pt>
                <c:pt idx="249">
                  <c:v>43110</c:v>
                </c:pt>
                <c:pt idx="250">
                  <c:v>43111</c:v>
                </c:pt>
                <c:pt idx="251">
                  <c:v>43112</c:v>
                </c:pt>
                <c:pt idx="252">
                  <c:v>43113</c:v>
                </c:pt>
                <c:pt idx="253">
                  <c:v>43114</c:v>
                </c:pt>
                <c:pt idx="254">
                  <c:v>43115</c:v>
                </c:pt>
                <c:pt idx="255">
                  <c:v>43116</c:v>
                </c:pt>
                <c:pt idx="256">
                  <c:v>43117</c:v>
                </c:pt>
                <c:pt idx="257">
                  <c:v>43118</c:v>
                </c:pt>
                <c:pt idx="258">
                  <c:v>43119</c:v>
                </c:pt>
                <c:pt idx="259">
                  <c:v>43120</c:v>
                </c:pt>
                <c:pt idx="260">
                  <c:v>43121</c:v>
                </c:pt>
                <c:pt idx="261">
                  <c:v>43122</c:v>
                </c:pt>
                <c:pt idx="262">
                  <c:v>43123</c:v>
                </c:pt>
                <c:pt idx="263">
                  <c:v>43124</c:v>
                </c:pt>
                <c:pt idx="264">
                  <c:v>43125</c:v>
                </c:pt>
                <c:pt idx="265">
                  <c:v>43126</c:v>
                </c:pt>
                <c:pt idx="266">
                  <c:v>43127</c:v>
                </c:pt>
                <c:pt idx="267">
                  <c:v>43128</c:v>
                </c:pt>
                <c:pt idx="268">
                  <c:v>43129</c:v>
                </c:pt>
                <c:pt idx="269">
                  <c:v>43130</c:v>
                </c:pt>
                <c:pt idx="270">
                  <c:v>43131</c:v>
                </c:pt>
                <c:pt idx="271">
                  <c:v>43132</c:v>
                </c:pt>
                <c:pt idx="272">
                  <c:v>43133</c:v>
                </c:pt>
                <c:pt idx="273">
                  <c:v>43134</c:v>
                </c:pt>
                <c:pt idx="274">
                  <c:v>43135</c:v>
                </c:pt>
                <c:pt idx="275">
                  <c:v>43136</c:v>
                </c:pt>
                <c:pt idx="276">
                  <c:v>43137</c:v>
                </c:pt>
                <c:pt idx="277">
                  <c:v>43138</c:v>
                </c:pt>
                <c:pt idx="278">
                  <c:v>43139</c:v>
                </c:pt>
                <c:pt idx="279">
                  <c:v>43140</c:v>
                </c:pt>
                <c:pt idx="280">
                  <c:v>43141</c:v>
                </c:pt>
                <c:pt idx="281">
                  <c:v>43142</c:v>
                </c:pt>
                <c:pt idx="282">
                  <c:v>43143</c:v>
                </c:pt>
                <c:pt idx="283">
                  <c:v>43144</c:v>
                </c:pt>
                <c:pt idx="284">
                  <c:v>43145</c:v>
                </c:pt>
                <c:pt idx="285">
                  <c:v>43146</c:v>
                </c:pt>
                <c:pt idx="286">
                  <c:v>43147</c:v>
                </c:pt>
                <c:pt idx="287">
                  <c:v>43148</c:v>
                </c:pt>
                <c:pt idx="288">
                  <c:v>43149</c:v>
                </c:pt>
                <c:pt idx="289">
                  <c:v>43150</c:v>
                </c:pt>
                <c:pt idx="290">
                  <c:v>43151</c:v>
                </c:pt>
                <c:pt idx="291">
                  <c:v>43152</c:v>
                </c:pt>
                <c:pt idx="292">
                  <c:v>43153</c:v>
                </c:pt>
                <c:pt idx="293">
                  <c:v>43154</c:v>
                </c:pt>
                <c:pt idx="294">
                  <c:v>43155</c:v>
                </c:pt>
                <c:pt idx="295">
                  <c:v>43156</c:v>
                </c:pt>
                <c:pt idx="296">
                  <c:v>43157</c:v>
                </c:pt>
                <c:pt idx="297">
                  <c:v>43158</c:v>
                </c:pt>
                <c:pt idx="298">
                  <c:v>43159</c:v>
                </c:pt>
                <c:pt idx="299">
                  <c:v>43160</c:v>
                </c:pt>
                <c:pt idx="300">
                  <c:v>43161</c:v>
                </c:pt>
                <c:pt idx="301">
                  <c:v>43162</c:v>
                </c:pt>
                <c:pt idx="302">
                  <c:v>43163</c:v>
                </c:pt>
                <c:pt idx="303">
                  <c:v>43164</c:v>
                </c:pt>
                <c:pt idx="304">
                  <c:v>43165</c:v>
                </c:pt>
                <c:pt idx="305">
                  <c:v>43166</c:v>
                </c:pt>
                <c:pt idx="306">
                  <c:v>43167</c:v>
                </c:pt>
                <c:pt idx="307">
                  <c:v>43168</c:v>
                </c:pt>
                <c:pt idx="308">
                  <c:v>43169</c:v>
                </c:pt>
                <c:pt idx="309">
                  <c:v>43170</c:v>
                </c:pt>
                <c:pt idx="310">
                  <c:v>43171</c:v>
                </c:pt>
                <c:pt idx="311">
                  <c:v>43172</c:v>
                </c:pt>
                <c:pt idx="312">
                  <c:v>43173</c:v>
                </c:pt>
                <c:pt idx="313">
                  <c:v>43174</c:v>
                </c:pt>
                <c:pt idx="314">
                  <c:v>43175</c:v>
                </c:pt>
                <c:pt idx="315">
                  <c:v>43176</c:v>
                </c:pt>
                <c:pt idx="316">
                  <c:v>43177</c:v>
                </c:pt>
                <c:pt idx="317">
                  <c:v>43178</c:v>
                </c:pt>
                <c:pt idx="318">
                  <c:v>43179</c:v>
                </c:pt>
                <c:pt idx="319">
                  <c:v>43180</c:v>
                </c:pt>
                <c:pt idx="320">
                  <c:v>43181</c:v>
                </c:pt>
                <c:pt idx="321">
                  <c:v>43182</c:v>
                </c:pt>
                <c:pt idx="322">
                  <c:v>43183</c:v>
                </c:pt>
                <c:pt idx="323">
                  <c:v>43184</c:v>
                </c:pt>
                <c:pt idx="324">
                  <c:v>43185</c:v>
                </c:pt>
                <c:pt idx="325">
                  <c:v>43186</c:v>
                </c:pt>
                <c:pt idx="326">
                  <c:v>43187</c:v>
                </c:pt>
                <c:pt idx="327">
                  <c:v>43188</c:v>
                </c:pt>
                <c:pt idx="328">
                  <c:v>43189</c:v>
                </c:pt>
                <c:pt idx="329">
                  <c:v>43190</c:v>
                </c:pt>
                <c:pt idx="330">
                  <c:v>43191</c:v>
                </c:pt>
                <c:pt idx="331">
                  <c:v>43192</c:v>
                </c:pt>
                <c:pt idx="332">
                  <c:v>43193</c:v>
                </c:pt>
                <c:pt idx="333">
                  <c:v>43194</c:v>
                </c:pt>
                <c:pt idx="334">
                  <c:v>43195</c:v>
                </c:pt>
                <c:pt idx="335">
                  <c:v>43196</c:v>
                </c:pt>
                <c:pt idx="336">
                  <c:v>43197</c:v>
                </c:pt>
                <c:pt idx="337">
                  <c:v>43198</c:v>
                </c:pt>
                <c:pt idx="338">
                  <c:v>43199</c:v>
                </c:pt>
                <c:pt idx="339">
                  <c:v>43200</c:v>
                </c:pt>
                <c:pt idx="340">
                  <c:v>43201</c:v>
                </c:pt>
                <c:pt idx="341">
                  <c:v>43202</c:v>
                </c:pt>
                <c:pt idx="342">
                  <c:v>43203</c:v>
                </c:pt>
                <c:pt idx="343">
                  <c:v>43204</c:v>
                </c:pt>
                <c:pt idx="344">
                  <c:v>43205</c:v>
                </c:pt>
                <c:pt idx="345">
                  <c:v>43206</c:v>
                </c:pt>
                <c:pt idx="346">
                  <c:v>43207</c:v>
                </c:pt>
                <c:pt idx="347">
                  <c:v>43208</c:v>
                </c:pt>
                <c:pt idx="348">
                  <c:v>43209</c:v>
                </c:pt>
                <c:pt idx="349">
                  <c:v>43210</c:v>
                </c:pt>
                <c:pt idx="350">
                  <c:v>43211</c:v>
                </c:pt>
                <c:pt idx="351">
                  <c:v>43212</c:v>
                </c:pt>
                <c:pt idx="352">
                  <c:v>43213</c:v>
                </c:pt>
                <c:pt idx="353">
                  <c:v>43214</c:v>
                </c:pt>
                <c:pt idx="354">
                  <c:v>43215</c:v>
                </c:pt>
                <c:pt idx="355">
                  <c:v>43216</c:v>
                </c:pt>
                <c:pt idx="356">
                  <c:v>43217</c:v>
                </c:pt>
                <c:pt idx="357">
                  <c:v>43218</c:v>
                </c:pt>
                <c:pt idx="358">
                  <c:v>43219</c:v>
                </c:pt>
                <c:pt idx="359">
                  <c:v>43220</c:v>
                </c:pt>
                <c:pt idx="360">
                  <c:v>43221</c:v>
                </c:pt>
                <c:pt idx="361">
                  <c:v>43222</c:v>
                </c:pt>
                <c:pt idx="362">
                  <c:v>43223</c:v>
                </c:pt>
                <c:pt idx="363">
                  <c:v>43224</c:v>
                </c:pt>
                <c:pt idx="364">
                  <c:v>43225</c:v>
                </c:pt>
                <c:pt idx="365">
                  <c:v>43226</c:v>
                </c:pt>
                <c:pt idx="366">
                  <c:v>42860</c:v>
                </c:pt>
              </c:numCache>
            </c:numRef>
          </c:cat>
          <c:val>
            <c:numRef>
              <c:f>eplus_yld_12m!$B$2:$B$500</c:f>
              <c:numCache>
                <c:formatCode>General</c:formatCode>
                <c:ptCount val="499"/>
                <c:pt idx="0">
                  <c:v>100</c:v>
                </c:pt>
                <c:pt idx="1">
                  <c:v>100.05095417369856</c:v>
                </c:pt>
                <c:pt idx="2">
                  <c:v>99.942934438200936</c:v>
                </c:pt>
                <c:pt idx="3">
                  <c:v>99.804847393403577</c:v>
                </c:pt>
                <c:pt idx="4">
                  <c:v>99.77818235432153</c:v>
                </c:pt>
                <c:pt idx="5">
                  <c:v>99.641719021523642</c:v>
                </c:pt>
                <c:pt idx="6">
                  <c:v>99.641719021523642</c:v>
                </c:pt>
                <c:pt idx="7">
                  <c:v>99.641719021523642</c:v>
                </c:pt>
                <c:pt idx="8">
                  <c:v>99.711822829277878</c:v>
                </c:pt>
                <c:pt idx="9">
                  <c:v>99.816554350536393</c:v>
                </c:pt>
                <c:pt idx="10">
                  <c:v>99.815453856689771</c:v>
                </c:pt>
                <c:pt idx="11">
                  <c:v>100.09559587235357</c:v>
                </c:pt>
                <c:pt idx="12">
                  <c:v>100.23834694050937</c:v>
                </c:pt>
                <c:pt idx="13">
                  <c:v>100.23834694050937</c:v>
                </c:pt>
                <c:pt idx="14">
                  <c:v>100.23834694050937</c:v>
                </c:pt>
                <c:pt idx="15">
                  <c:v>100.12778159859467</c:v>
                </c:pt>
                <c:pt idx="16">
                  <c:v>100.06940213206221</c:v>
                </c:pt>
                <c:pt idx="17">
                  <c:v>100.02296222641914</c:v>
                </c:pt>
                <c:pt idx="18">
                  <c:v>100.09942775031993</c:v>
                </c:pt>
                <c:pt idx="19">
                  <c:v>99.937708701287988</c:v>
                </c:pt>
                <c:pt idx="20">
                  <c:v>99.937708701287988</c:v>
                </c:pt>
                <c:pt idx="21">
                  <c:v>99.937708701287988</c:v>
                </c:pt>
                <c:pt idx="22">
                  <c:v>99.849600795458286</c:v>
                </c:pt>
                <c:pt idx="23">
                  <c:v>99.863502467134296</c:v>
                </c:pt>
                <c:pt idx="24">
                  <c:v>99.993700025930067</c:v>
                </c:pt>
                <c:pt idx="25">
                  <c:v>100.17258668183224</c:v>
                </c:pt>
                <c:pt idx="26">
                  <c:v>100.21911280919528</c:v>
                </c:pt>
                <c:pt idx="27">
                  <c:v>100.21911280919528</c:v>
                </c:pt>
                <c:pt idx="28">
                  <c:v>100.21911280919528</c:v>
                </c:pt>
                <c:pt idx="29">
                  <c:v>100.40841973448788</c:v>
                </c:pt>
                <c:pt idx="30">
                  <c:v>100.4647720956204</c:v>
                </c:pt>
                <c:pt idx="31">
                  <c:v>100.48653649805675</c:v>
                </c:pt>
                <c:pt idx="32">
                  <c:v>100.49391176966029</c:v>
                </c:pt>
                <c:pt idx="33">
                  <c:v>100.44540070626117</c:v>
                </c:pt>
                <c:pt idx="34">
                  <c:v>100.44540070626117</c:v>
                </c:pt>
                <c:pt idx="35">
                  <c:v>100.44540070626117</c:v>
                </c:pt>
                <c:pt idx="36">
                  <c:v>100.41272160897871</c:v>
                </c:pt>
                <c:pt idx="37">
                  <c:v>100.31284634836342</c:v>
                </c:pt>
                <c:pt idx="38">
                  <c:v>100.41717048150639</c:v>
                </c:pt>
                <c:pt idx="39">
                  <c:v>100.46645165165022</c:v>
                </c:pt>
                <c:pt idx="40">
                  <c:v>100.47351450977963</c:v>
                </c:pt>
                <c:pt idx="41">
                  <c:v>100.47351450977963</c:v>
                </c:pt>
                <c:pt idx="42">
                  <c:v>100.47351450977963</c:v>
                </c:pt>
                <c:pt idx="43">
                  <c:v>100.36512037258416</c:v>
                </c:pt>
                <c:pt idx="44">
                  <c:v>100.3854401418605</c:v>
                </c:pt>
                <c:pt idx="45">
                  <c:v>100.27645301009133</c:v>
                </c:pt>
                <c:pt idx="46">
                  <c:v>100.17177631336497</c:v>
                </c:pt>
                <c:pt idx="47">
                  <c:v>100.22142226198639</c:v>
                </c:pt>
                <c:pt idx="48">
                  <c:v>100.22142226198639</c:v>
                </c:pt>
                <c:pt idx="49">
                  <c:v>100.22142226198639</c:v>
                </c:pt>
                <c:pt idx="50">
                  <c:v>100.22142226198639</c:v>
                </c:pt>
                <c:pt idx="51">
                  <c:v>100.16328162641508</c:v>
                </c:pt>
                <c:pt idx="52">
                  <c:v>100.029759529343</c:v>
                </c:pt>
                <c:pt idx="53">
                  <c:v>100.02494261333229</c:v>
                </c:pt>
                <c:pt idx="54">
                  <c:v>99.924356568585239</c:v>
                </c:pt>
                <c:pt idx="55">
                  <c:v>99.924356568585239</c:v>
                </c:pt>
                <c:pt idx="56">
                  <c:v>99.924356568585239</c:v>
                </c:pt>
                <c:pt idx="57">
                  <c:v>99.956661458791089</c:v>
                </c:pt>
                <c:pt idx="58">
                  <c:v>99.94157572612275</c:v>
                </c:pt>
                <c:pt idx="59">
                  <c:v>99.87010752547522</c:v>
                </c:pt>
                <c:pt idx="60">
                  <c:v>99.905904679601463</c:v>
                </c:pt>
                <c:pt idx="61">
                  <c:v>99.745075042567663</c:v>
                </c:pt>
                <c:pt idx="62">
                  <c:v>99.745075042567663</c:v>
                </c:pt>
                <c:pt idx="63">
                  <c:v>99.745075042567663</c:v>
                </c:pt>
                <c:pt idx="64">
                  <c:v>99.690686326186437</c:v>
                </c:pt>
                <c:pt idx="65">
                  <c:v>99.711722397790211</c:v>
                </c:pt>
                <c:pt idx="66">
                  <c:v>99.823315317235753</c:v>
                </c:pt>
                <c:pt idx="67">
                  <c:v>99.926130466551555</c:v>
                </c:pt>
                <c:pt idx="68">
                  <c:v>99.709118757263298</c:v>
                </c:pt>
                <c:pt idx="69">
                  <c:v>99.709118757263298</c:v>
                </c:pt>
                <c:pt idx="70">
                  <c:v>99.709118757263298</c:v>
                </c:pt>
                <c:pt idx="71">
                  <c:v>99.577967538505916</c:v>
                </c:pt>
                <c:pt idx="72">
                  <c:v>99.529103581628547</c:v>
                </c:pt>
                <c:pt idx="73">
                  <c:v>99.505851127704531</c:v>
                </c:pt>
                <c:pt idx="74">
                  <c:v>99.514958575263321</c:v>
                </c:pt>
                <c:pt idx="75">
                  <c:v>99.537536967440957</c:v>
                </c:pt>
                <c:pt idx="76">
                  <c:v>99.537536967440957</c:v>
                </c:pt>
                <c:pt idx="77">
                  <c:v>99.537536967440957</c:v>
                </c:pt>
                <c:pt idx="78">
                  <c:v>99.680902475244778</c:v>
                </c:pt>
                <c:pt idx="79">
                  <c:v>99.805278591023267</c:v>
                </c:pt>
                <c:pt idx="80">
                  <c:v>99.747770437572797</c:v>
                </c:pt>
                <c:pt idx="81">
                  <c:v>99.82938940140491</c:v>
                </c:pt>
                <c:pt idx="82">
                  <c:v>99.842668863304127</c:v>
                </c:pt>
                <c:pt idx="83">
                  <c:v>99.842668863304127</c:v>
                </c:pt>
                <c:pt idx="84">
                  <c:v>99.842668863304127</c:v>
                </c:pt>
                <c:pt idx="85">
                  <c:v>99.94636493953162</c:v>
                </c:pt>
                <c:pt idx="86">
                  <c:v>99.987905315628154</c:v>
                </c:pt>
                <c:pt idx="87">
                  <c:v>100.03007763186208</c:v>
                </c:pt>
                <c:pt idx="88">
                  <c:v>100.06501922698585</c:v>
                </c:pt>
                <c:pt idx="89">
                  <c:v>99.919164073179275</c:v>
                </c:pt>
                <c:pt idx="90">
                  <c:v>99.919164073179275</c:v>
                </c:pt>
                <c:pt idx="91">
                  <c:v>99.919164073179275</c:v>
                </c:pt>
                <c:pt idx="92">
                  <c:v>99.802354486547799</c:v>
                </c:pt>
                <c:pt idx="93">
                  <c:v>99.747371015359704</c:v>
                </c:pt>
                <c:pt idx="94">
                  <c:v>99.863880963006565</c:v>
                </c:pt>
                <c:pt idx="95">
                  <c:v>99.798856320642088</c:v>
                </c:pt>
                <c:pt idx="96">
                  <c:v>99.726809868692214</c:v>
                </c:pt>
                <c:pt idx="97">
                  <c:v>99.726809868692214</c:v>
                </c:pt>
                <c:pt idx="98">
                  <c:v>99.726809868692214</c:v>
                </c:pt>
                <c:pt idx="99">
                  <c:v>99.726809868692214</c:v>
                </c:pt>
                <c:pt idx="100">
                  <c:v>99.915317133982512</c:v>
                </c:pt>
                <c:pt idx="101">
                  <c:v>99.990178374575194</c:v>
                </c:pt>
                <c:pt idx="102">
                  <c:v>100.03075197796311</c:v>
                </c:pt>
                <c:pt idx="103">
                  <c:v>100.00015316976922</c:v>
                </c:pt>
                <c:pt idx="104">
                  <c:v>100.00015316976922</c:v>
                </c:pt>
                <c:pt idx="105">
                  <c:v>100.00015316976922</c:v>
                </c:pt>
                <c:pt idx="106">
                  <c:v>100.03218439909433</c:v>
                </c:pt>
                <c:pt idx="107">
                  <c:v>100.06098580392404</c:v>
                </c:pt>
                <c:pt idx="108">
                  <c:v>100.07111578960483</c:v>
                </c:pt>
                <c:pt idx="109">
                  <c:v>99.956104696398214</c:v>
                </c:pt>
                <c:pt idx="110">
                  <c:v>99.868210976116046</c:v>
                </c:pt>
                <c:pt idx="111">
                  <c:v>99.868210976116046</c:v>
                </c:pt>
                <c:pt idx="112">
                  <c:v>99.868210976116046</c:v>
                </c:pt>
                <c:pt idx="113">
                  <c:v>99.89633471054799</c:v>
                </c:pt>
                <c:pt idx="114">
                  <c:v>99.855048180278487</c:v>
                </c:pt>
                <c:pt idx="115">
                  <c:v>99.882975602982398</c:v>
                </c:pt>
                <c:pt idx="116">
                  <c:v>99.917693919706437</c:v>
                </c:pt>
                <c:pt idx="117">
                  <c:v>99.951400726457521</c:v>
                </c:pt>
                <c:pt idx="118">
                  <c:v>99.951400726457521</c:v>
                </c:pt>
                <c:pt idx="119">
                  <c:v>99.951400726457521</c:v>
                </c:pt>
                <c:pt idx="120">
                  <c:v>100.02933238039699</c:v>
                </c:pt>
                <c:pt idx="121">
                  <c:v>100.04982342673321</c:v>
                </c:pt>
                <c:pt idx="122">
                  <c:v>100.03896864105783</c:v>
                </c:pt>
                <c:pt idx="123">
                  <c:v>100.03123220689514</c:v>
                </c:pt>
                <c:pt idx="124">
                  <c:v>100.00048374132344</c:v>
                </c:pt>
                <c:pt idx="125">
                  <c:v>100.00048374132344</c:v>
                </c:pt>
                <c:pt idx="126">
                  <c:v>100.00048374132344</c:v>
                </c:pt>
                <c:pt idx="127">
                  <c:v>100.09632762688797</c:v>
                </c:pt>
                <c:pt idx="128">
                  <c:v>100.11019534630408</c:v>
                </c:pt>
                <c:pt idx="129">
                  <c:v>99.989143949836318</c:v>
                </c:pt>
                <c:pt idx="130">
                  <c:v>100.01940602389202</c:v>
                </c:pt>
                <c:pt idx="131">
                  <c:v>99.929421062987416</c:v>
                </c:pt>
                <c:pt idx="132">
                  <c:v>99.929421062987416</c:v>
                </c:pt>
                <c:pt idx="133">
                  <c:v>99.929421062987416</c:v>
                </c:pt>
                <c:pt idx="134">
                  <c:v>99.929421062987416</c:v>
                </c:pt>
                <c:pt idx="135">
                  <c:v>99.929421062987416</c:v>
                </c:pt>
                <c:pt idx="136">
                  <c:v>99.912831928870276</c:v>
                </c:pt>
                <c:pt idx="137">
                  <c:v>99.89871383261935</c:v>
                </c:pt>
                <c:pt idx="138">
                  <c:v>99.959767601171322</c:v>
                </c:pt>
                <c:pt idx="139">
                  <c:v>99.959767601171322</c:v>
                </c:pt>
                <c:pt idx="140">
                  <c:v>99.959767601171322</c:v>
                </c:pt>
                <c:pt idx="141">
                  <c:v>100.13367591005728</c:v>
                </c:pt>
                <c:pt idx="142">
                  <c:v>100.16942940244294</c:v>
                </c:pt>
                <c:pt idx="143">
                  <c:v>100.21127644464963</c:v>
                </c:pt>
                <c:pt idx="144">
                  <c:v>100.21070343728276</c:v>
                </c:pt>
                <c:pt idx="145">
                  <c:v>100.18541622815107</c:v>
                </c:pt>
                <c:pt idx="146">
                  <c:v>100.18541622815107</c:v>
                </c:pt>
                <c:pt idx="147">
                  <c:v>100.18541622815107</c:v>
                </c:pt>
                <c:pt idx="148">
                  <c:v>100.037168290016</c:v>
                </c:pt>
                <c:pt idx="149">
                  <c:v>99.925137187846062</c:v>
                </c:pt>
                <c:pt idx="150">
                  <c:v>99.830369853768858</c:v>
                </c:pt>
                <c:pt idx="151">
                  <c:v>99.645732123099862</c:v>
                </c:pt>
                <c:pt idx="152">
                  <c:v>99.645732123099862</c:v>
                </c:pt>
                <c:pt idx="153">
                  <c:v>99.645732123099862</c:v>
                </c:pt>
                <c:pt idx="154">
                  <c:v>99.645732123099862</c:v>
                </c:pt>
                <c:pt idx="155">
                  <c:v>99.410693446071207</c:v>
                </c:pt>
                <c:pt idx="156">
                  <c:v>98.88355511407353</c:v>
                </c:pt>
                <c:pt idx="157">
                  <c:v>98.668628507987549</c:v>
                </c:pt>
                <c:pt idx="158">
                  <c:v>98.636900741333889</c:v>
                </c:pt>
                <c:pt idx="159">
                  <c:v>98.506633880291972</c:v>
                </c:pt>
                <c:pt idx="160">
                  <c:v>98.506633880291972</c:v>
                </c:pt>
                <c:pt idx="161">
                  <c:v>98.506633880291972</c:v>
                </c:pt>
                <c:pt idx="162">
                  <c:v>98.519811872133261</c:v>
                </c:pt>
                <c:pt idx="163">
                  <c:v>98.464319565419416</c:v>
                </c:pt>
                <c:pt idx="164">
                  <c:v>98.394091694994671</c:v>
                </c:pt>
                <c:pt idx="165">
                  <c:v>98.347866025946601</c:v>
                </c:pt>
                <c:pt idx="166">
                  <c:v>98.437364976504142</c:v>
                </c:pt>
                <c:pt idx="167">
                  <c:v>98.437364976504142</c:v>
                </c:pt>
                <c:pt idx="168">
                  <c:v>98.437364976504142</c:v>
                </c:pt>
                <c:pt idx="169">
                  <c:v>98.741632764618316</c:v>
                </c:pt>
                <c:pt idx="170">
                  <c:v>99.09339441721292</c:v>
                </c:pt>
                <c:pt idx="171">
                  <c:v>99.239168774833232</c:v>
                </c:pt>
                <c:pt idx="172">
                  <c:v>99.239168774833232</c:v>
                </c:pt>
                <c:pt idx="173">
                  <c:v>98.980522970902911</c:v>
                </c:pt>
                <c:pt idx="174">
                  <c:v>98.980522970902911</c:v>
                </c:pt>
                <c:pt idx="175">
                  <c:v>98.980522970902911</c:v>
                </c:pt>
                <c:pt idx="176">
                  <c:v>99.132364758822305</c:v>
                </c:pt>
                <c:pt idx="177">
                  <c:v>99.132364758822305</c:v>
                </c:pt>
                <c:pt idx="178">
                  <c:v>99.278813484265072</c:v>
                </c:pt>
                <c:pt idx="179">
                  <c:v>99.337357606616266</c:v>
                </c:pt>
                <c:pt idx="180">
                  <c:v>99.379681755307729</c:v>
                </c:pt>
                <c:pt idx="181">
                  <c:v>99.379681755307729</c:v>
                </c:pt>
                <c:pt idx="182">
                  <c:v>99.379681755307729</c:v>
                </c:pt>
                <c:pt idx="183">
                  <c:v>99.368728357493382</c:v>
                </c:pt>
                <c:pt idx="184">
                  <c:v>99.414179887921023</c:v>
                </c:pt>
                <c:pt idx="185">
                  <c:v>99.434471846002054</c:v>
                </c:pt>
                <c:pt idx="186">
                  <c:v>99.580905868711866</c:v>
                </c:pt>
                <c:pt idx="187">
                  <c:v>99.627915869682155</c:v>
                </c:pt>
                <c:pt idx="188">
                  <c:v>99.627915869682155</c:v>
                </c:pt>
                <c:pt idx="189">
                  <c:v>99.627915869682155</c:v>
                </c:pt>
                <c:pt idx="190">
                  <c:v>99.673675830868902</c:v>
                </c:pt>
                <c:pt idx="191">
                  <c:v>99.694290958214296</c:v>
                </c:pt>
                <c:pt idx="192">
                  <c:v>99.69579357389253</c:v>
                </c:pt>
                <c:pt idx="193">
                  <c:v>99.656300418579747</c:v>
                </c:pt>
                <c:pt idx="194">
                  <c:v>99.494432258079485</c:v>
                </c:pt>
                <c:pt idx="195">
                  <c:v>99.494432258079485</c:v>
                </c:pt>
                <c:pt idx="196">
                  <c:v>99.494432258079485</c:v>
                </c:pt>
                <c:pt idx="197">
                  <c:v>99.49214872852572</c:v>
                </c:pt>
                <c:pt idx="198">
                  <c:v>99.528936978770119</c:v>
                </c:pt>
                <c:pt idx="199">
                  <c:v>99.281121512616679</c:v>
                </c:pt>
                <c:pt idx="200">
                  <c:v>99.1239754401997</c:v>
                </c:pt>
                <c:pt idx="201">
                  <c:v>98.926862169837179</c:v>
                </c:pt>
                <c:pt idx="202">
                  <c:v>98.926862169837179</c:v>
                </c:pt>
                <c:pt idx="203">
                  <c:v>98.926862169837179</c:v>
                </c:pt>
                <c:pt idx="204">
                  <c:v>98.990307285017579</c:v>
                </c:pt>
                <c:pt idx="205">
                  <c:v>99.073132126618844</c:v>
                </c:pt>
                <c:pt idx="206">
                  <c:v>99.000254167967768</c:v>
                </c:pt>
                <c:pt idx="207">
                  <c:v>99.016999069977302</c:v>
                </c:pt>
                <c:pt idx="208">
                  <c:v>99.029530429894606</c:v>
                </c:pt>
                <c:pt idx="209">
                  <c:v>99.029530429894606</c:v>
                </c:pt>
                <c:pt idx="210">
                  <c:v>99.029530429894606</c:v>
                </c:pt>
                <c:pt idx="211">
                  <c:v>99.116407000372661</c:v>
                </c:pt>
                <c:pt idx="212">
                  <c:v>99.104971211946832</c:v>
                </c:pt>
                <c:pt idx="213">
                  <c:v>99.030579702000722</c:v>
                </c:pt>
                <c:pt idx="214">
                  <c:v>99.030579702000722</c:v>
                </c:pt>
                <c:pt idx="215">
                  <c:v>98.973402068640453</c:v>
                </c:pt>
                <c:pt idx="216">
                  <c:v>98.973402068640453</c:v>
                </c:pt>
                <c:pt idx="217">
                  <c:v>98.973402068640453</c:v>
                </c:pt>
                <c:pt idx="218">
                  <c:v>98.96078955874593</c:v>
                </c:pt>
                <c:pt idx="219">
                  <c:v>98.872112429775825</c:v>
                </c:pt>
                <c:pt idx="220">
                  <c:v>98.862466703173595</c:v>
                </c:pt>
                <c:pt idx="221">
                  <c:v>98.814536454060047</c:v>
                </c:pt>
                <c:pt idx="222">
                  <c:v>98.775577610212977</c:v>
                </c:pt>
                <c:pt idx="223">
                  <c:v>98.775577610212977</c:v>
                </c:pt>
                <c:pt idx="224">
                  <c:v>98.775577610212977</c:v>
                </c:pt>
                <c:pt idx="225">
                  <c:v>98.874630278480581</c:v>
                </c:pt>
                <c:pt idx="226">
                  <c:v>99.393567759543089</c:v>
                </c:pt>
                <c:pt idx="227">
                  <c:v>99.365433785558992</c:v>
                </c:pt>
                <c:pt idx="228">
                  <c:v>99.569864525349004</c:v>
                </c:pt>
                <c:pt idx="229">
                  <c:v>99.569864525349004</c:v>
                </c:pt>
                <c:pt idx="230">
                  <c:v>99.569864525349004</c:v>
                </c:pt>
                <c:pt idx="231">
                  <c:v>99.569864525349004</c:v>
                </c:pt>
                <c:pt idx="232">
                  <c:v>99.86565426087347</c:v>
                </c:pt>
                <c:pt idx="233">
                  <c:v>99.921932581294371</c:v>
                </c:pt>
                <c:pt idx="234">
                  <c:v>100.00981331137659</c:v>
                </c:pt>
                <c:pt idx="235">
                  <c:v>100.04663738368458</c:v>
                </c:pt>
                <c:pt idx="236">
                  <c:v>100.04663738368458</c:v>
                </c:pt>
                <c:pt idx="237">
                  <c:v>100.04663738368458</c:v>
                </c:pt>
                <c:pt idx="238">
                  <c:v>100.04663738368458</c:v>
                </c:pt>
                <c:pt idx="239">
                  <c:v>100.07411425108214</c:v>
                </c:pt>
                <c:pt idx="240">
                  <c:v>100.16478047065506</c:v>
                </c:pt>
                <c:pt idx="241">
                  <c:v>100.17460164061066</c:v>
                </c:pt>
                <c:pt idx="242">
                  <c:v>100.18270206392633</c:v>
                </c:pt>
                <c:pt idx="243">
                  <c:v>100.12804732709525</c:v>
                </c:pt>
                <c:pt idx="244">
                  <c:v>100.12804732709525</c:v>
                </c:pt>
                <c:pt idx="245">
                  <c:v>100.12804732709525</c:v>
                </c:pt>
                <c:pt idx="246">
                  <c:v>100.23070879510686</c:v>
                </c:pt>
                <c:pt idx="247">
                  <c:v>100.2343208054148</c:v>
                </c:pt>
                <c:pt idx="248">
                  <c:v>100.27514750243786</c:v>
                </c:pt>
                <c:pt idx="249">
                  <c:v>100.00939673348365</c:v>
                </c:pt>
                <c:pt idx="250">
                  <c:v>100.02842059469836</c:v>
                </c:pt>
                <c:pt idx="251">
                  <c:v>100.02842059469836</c:v>
                </c:pt>
                <c:pt idx="252">
                  <c:v>100.02842059469836</c:v>
                </c:pt>
                <c:pt idx="253">
                  <c:v>100.02842059469836</c:v>
                </c:pt>
                <c:pt idx="254">
                  <c:v>100.10195554926196</c:v>
                </c:pt>
                <c:pt idx="255">
                  <c:v>100.14318567873404</c:v>
                </c:pt>
                <c:pt idx="256">
                  <c:v>100.39393009570028</c:v>
                </c:pt>
                <c:pt idx="257">
                  <c:v>100.36968187750908</c:v>
                </c:pt>
                <c:pt idx="258">
                  <c:v>100.36968187750908</c:v>
                </c:pt>
                <c:pt idx="259">
                  <c:v>100.36968187750908</c:v>
                </c:pt>
                <c:pt idx="260">
                  <c:v>100.40513017660018</c:v>
                </c:pt>
                <c:pt idx="261">
                  <c:v>100.41711615946571</c:v>
                </c:pt>
                <c:pt idx="262">
                  <c:v>100.52659325033392</c:v>
                </c:pt>
                <c:pt idx="263">
                  <c:v>100.57127503727756</c:v>
                </c:pt>
                <c:pt idx="264">
                  <c:v>100.72085120916032</c:v>
                </c:pt>
                <c:pt idx="265">
                  <c:v>100.72085120916032</c:v>
                </c:pt>
                <c:pt idx="266">
                  <c:v>100.72085120916032</c:v>
                </c:pt>
                <c:pt idx="267">
                  <c:v>100.75406825803374</c:v>
                </c:pt>
                <c:pt idx="268">
                  <c:v>100.65876202791553</c:v>
                </c:pt>
                <c:pt idx="269">
                  <c:v>100.58668087435912</c:v>
                </c:pt>
                <c:pt idx="270">
                  <c:v>100.54984481394101</c:v>
                </c:pt>
                <c:pt idx="271">
                  <c:v>100.49769910492449</c:v>
                </c:pt>
                <c:pt idx="272">
                  <c:v>100.49769910492449</c:v>
                </c:pt>
                <c:pt idx="273">
                  <c:v>100.49769910492449</c:v>
                </c:pt>
                <c:pt idx="274">
                  <c:v>100.36227312425383</c:v>
                </c:pt>
                <c:pt idx="275">
                  <c:v>100.24616779505155</c:v>
                </c:pt>
                <c:pt idx="276">
                  <c:v>100.33750123083507</c:v>
                </c:pt>
                <c:pt idx="277">
                  <c:v>100.25538361152938</c:v>
                </c:pt>
                <c:pt idx="278">
                  <c:v>100.33921242144417</c:v>
                </c:pt>
                <c:pt idx="279">
                  <c:v>100.33921242144417</c:v>
                </c:pt>
                <c:pt idx="280">
                  <c:v>100.33921242144417</c:v>
                </c:pt>
                <c:pt idx="281">
                  <c:v>100.39781357823848</c:v>
                </c:pt>
                <c:pt idx="282">
                  <c:v>100.38823895749917</c:v>
                </c:pt>
                <c:pt idx="283">
                  <c:v>100.41462764672497</c:v>
                </c:pt>
                <c:pt idx="284">
                  <c:v>100.51746914028379</c:v>
                </c:pt>
                <c:pt idx="285">
                  <c:v>100.48073163904495</c:v>
                </c:pt>
                <c:pt idx="286">
                  <c:v>100.48073163904495</c:v>
                </c:pt>
                <c:pt idx="287">
                  <c:v>100.48073163904495</c:v>
                </c:pt>
                <c:pt idx="288">
                  <c:v>100.53092570620559</c:v>
                </c:pt>
                <c:pt idx="289">
                  <c:v>100.60312419617182</c:v>
                </c:pt>
                <c:pt idx="290">
                  <c:v>100.65293425035732</c:v>
                </c:pt>
                <c:pt idx="291">
                  <c:v>100.70964032683759</c:v>
                </c:pt>
                <c:pt idx="292">
                  <c:v>100.72595329788082</c:v>
                </c:pt>
                <c:pt idx="293">
                  <c:v>100.72595329788082</c:v>
                </c:pt>
                <c:pt idx="294">
                  <c:v>100.72595329788082</c:v>
                </c:pt>
                <c:pt idx="295">
                  <c:v>100.7777596027825</c:v>
                </c:pt>
                <c:pt idx="296">
                  <c:v>100.80763809690637</c:v>
                </c:pt>
                <c:pt idx="297">
                  <c:v>100.702425881788</c:v>
                </c:pt>
                <c:pt idx="298">
                  <c:v>100.70016966815086</c:v>
                </c:pt>
                <c:pt idx="299">
                  <c:v>100.74088160639369</c:v>
                </c:pt>
                <c:pt idx="300">
                  <c:v>100.74088160639369</c:v>
                </c:pt>
                <c:pt idx="301">
                  <c:v>100.74088160639369</c:v>
                </c:pt>
                <c:pt idx="302">
                  <c:v>100.82373460465361</c:v>
                </c:pt>
                <c:pt idx="303">
                  <c:v>100.86731837960285</c:v>
                </c:pt>
                <c:pt idx="304">
                  <c:v>100.81513964515992</c:v>
                </c:pt>
                <c:pt idx="305">
                  <c:v>100.85657256543536</c:v>
                </c:pt>
                <c:pt idx="306">
                  <c:v>100.77381531056008</c:v>
                </c:pt>
                <c:pt idx="307">
                  <c:v>100.77381531056008</c:v>
                </c:pt>
                <c:pt idx="308">
                  <c:v>100.77381531056008</c:v>
                </c:pt>
                <c:pt idx="309">
                  <c:v>100.78627758307405</c:v>
                </c:pt>
                <c:pt idx="310">
                  <c:v>100.94460056344039</c:v>
                </c:pt>
                <c:pt idx="311">
                  <c:v>100.98088481829981</c:v>
                </c:pt>
                <c:pt idx="312">
                  <c:v>101.01774930459652</c:v>
                </c:pt>
                <c:pt idx="313">
                  <c:v>101.09960724251796</c:v>
                </c:pt>
                <c:pt idx="314">
                  <c:v>101.09960724251796</c:v>
                </c:pt>
                <c:pt idx="315">
                  <c:v>101.09960724251796</c:v>
                </c:pt>
                <c:pt idx="316">
                  <c:v>101.2337523612606</c:v>
                </c:pt>
                <c:pt idx="317">
                  <c:v>101.2160201944194</c:v>
                </c:pt>
                <c:pt idx="318">
                  <c:v>101.1623949265089</c:v>
                </c:pt>
                <c:pt idx="319">
                  <c:v>101.08815787387783</c:v>
                </c:pt>
                <c:pt idx="320">
                  <c:v>101.07659911326347</c:v>
                </c:pt>
                <c:pt idx="321">
                  <c:v>101.07659911326347</c:v>
                </c:pt>
                <c:pt idx="322">
                  <c:v>101.07659911326347</c:v>
                </c:pt>
                <c:pt idx="323">
                  <c:v>101.15144332984337</c:v>
                </c:pt>
                <c:pt idx="324">
                  <c:v>101.24733518456462</c:v>
                </c:pt>
                <c:pt idx="325">
                  <c:v>101.34532982075154</c:v>
                </c:pt>
                <c:pt idx="326">
                  <c:v>101.34532982075154</c:v>
                </c:pt>
                <c:pt idx="327">
                  <c:v>101.43359631412058</c:v>
                </c:pt>
                <c:pt idx="328">
                  <c:v>101.43359631412058</c:v>
                </c:pt>
                <c:pt idx="329">
                  <c:v>101.43359631412058</c:v>
                </c:pt>
                <c:pt idx="330">
                  <c:v>101.47876130910815</c:v>
                </c:pt>
                <c:pt idx="331">
                  <c:v>101.46400013022135</c:v>
                </c:pt>
                <c:pt idx="332">
                  <c:v>101.50447633710128</c:v>
                </c:pt>
                <c:pt idx="333">
                  <c:v>101.63269341626554</c:v>
                </c:pt>
                <c:pt idx="334">
                  <c:v>101.63269341626554</c:v>
                </c:pt>
                <c:pt idx="335">
                  <c:v>101.6955039377771</c:v>
                </c:pt>
                <c:pt idx="336">
                  <c:v>101.6955039377771</c:v>
                </c:pt>
                <c:pt idx="337">
                  <c:v>101.62202959819308</c:v>
                </c:pt>
                <c:pt idx="338">
                  <c:v>101.67310392792544</c:v>
                </c:pt>
                <c:pt idx="339">
                  <c:v>101.76044334628959</c:v>
                </c:pt>
                <c:pt idx="340">
                  <c:v>101.7879936912945</c:v>
                </c:pt>
                <c:pt idx="341">
                  <c:v>101.81482519265434</c:v>
                </c:pt>
                <c:pt idx="342">
                  <c:v>101.81482519265434</c:v>
                </c:pt>
                <c:pt idx="343">
                  <c:v>101.81482519265434</c:v>
                </c:pt>
                <c:pt idx="344">
                  <c:v>101.82970851306183</c:v>
                </c:pt>
                <c:pt idx="345">
                  <c:v>101.81289065730412</c:v>
                </c:pt>
                <c:pt idx="346">
                  <c:v>101.88799525940419</c:v>
                </c:pt>
                <c:pt idx="347">
                  <c:v>101.90965462665173</c:v>
                </c:pt>
                <c:pt idx="348">
                  <c:v>101.90965462665173</c:v>
                </c:pt>
                <c:pt idx="349">
                  <c:v>101.90965462665173</c:v>
                </c:pt>
                <c:pt idx="350">
                  <c:v>101.89356059636116</c:v>
                </c:pt>
                <c:pt idx="351">
                  <c:v>101.86122035348593</c:v>
                </c:pt>
                <c:pt idx="352">
                  <c:v>101.83083029711239</c:v>
                </c:pt>
                <c:pt idx="353">
                  <c:v>101.67692160972942</c:v>
                </c:pt>
                <c:pt idx="354">
                  <c:v>101.4948339660555</c:v>
                </c:pt>
                <c:pt idx="355">
                  <c:v>101.4948339660555</c:v>
                </c:pt>
                <c:pt idx="356">
                  <c:v>101.4948339660555</c:v>
                </c:pt>
                <c:pt idx="357">
                  <c:v>101.64507940629824</c:v>
                </c:pt>
                <c:pt idx="358">
                  <c:v>101.64507940629824</c:v>
                </c:pt>
                <c:pt idx="359">
                  <c:v>101.7586014485357</c:v>
                </c:pt>
                <c:pt idx="360">
                  <c:v>101.92535488161525</c:v>
                </c:pt>
                <c:pt idx="361">
                  <c:v>101.99163170860604</c:v>
                </c:pt>
                <c:pt idx="362">
                  <c:v>101.99163170860604</c:v>
                </c:pt>
                <c:pt idx="363">
                  <c:v>101.99163170860604</c:v>
                </c:pt>
                <c:pt idx="364">
                  <c:v>102.03745138517102</c:v>
                </c:pt>
                <c:pt idx="365">
                  <c:v>102.03745138517102</c:v>
                </c:pt>
                <c:pt idx="36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CB-44DA-93F1-D3B2E3BE4EB1}"/>
            </c:ext>
          </c:extLst>
        </c:ser>
        <c:ser>
          <c:idx val="1"/>
          <c:order val="1"/>
          <c:tx>
            <c:strRef>
              <c:f>eplus_yld_12m!$C$1</c:f>
              <c:strCache>
                <c:ptCount val="1"/>
                <c:pt idx="0">
                  <c:v>Min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cat>
            <c:numRef>
              <c:f>eplus_yld_12m!$A$2:$A$500</c:f>
              <c:numCache>
                <c:formatCode>m/d/yyyy</c:formatCode>
                <c:ptCount val="499"/>
                <c:pt idx="0">
                  <c:v>42861</c:v>
                </c:pt>
                <c:pt idx="1">
                  <c:v>42862</c:v>
                </c:pt>
                <c:pt idx="2">
                  <c:v>42863</c:v>
                </c:pt>
                <c:pt idx="3">
                  <c:v>42864</c:v>
                </c:pt>
                <c:pt idx="4">
                  <c:v>42865</c:v>
                </c:pt>
                <c:pt idx="5">
                  <c:v>42866</c:v>
                </c:pt>
                <c:pt idx="6">
                  <c:v>42867</c:v>
                </c:pt>
                <c:pt idx="7">
                  <c:v>42868</c:v>
                </c:pt>
                <c:pt idx="8">
                  <c:v>42869</c:v>
                </c:pt>
                <c:pt idx="9">
                  <c:v>42870</c:v>
                </c:pt>
                <c:pt idx="10">
                  <c:v>42871</c:v>
                </c:pt>
                <c:pt idx="11">
                  <c:v>42872</c:v>
                </c:pt>
                <c:pt idx="12">
                  <c:v>42873</c:v>
                </c:pt>
                <c:pt idx="13">
                  <c:v>42874</c:v>
                </c:pt>
                <c:pt idx="14">
                  <c:v>42875</c:v>
                </c:pt>
                <c:pt idx="15">
                  <c:v>42876</c:v>
                </c:pt>
                <c:pt idx="16">
                  <c:v>42877</c:v>
                </c:pt>
                <c:pt idx="17">
                  <c:v>42878</c:v>
                </c:pt>
                <c:pt idx="18">
                  <c:v>42879</c:v>
                </c:pt>
                <c:pt idx="19">
                  <c:v>42880</c:v>
                </c:pt>
                <c:pt idx="20">
                  <c:v>42881</c:v>
                </c:pt>
                <c:pt idx="21">
                  <c:v>42882</c:v>
                </c:pt>
                <c:pt idx="22">
                  <c:v>42883</c:v>
                </c:pt>
                <c:pt idx="23">
                  <c:v>42884</c:v>
                </c:pt>
                <c:pt idx="24">
                  <c:v>42885</c:v>
                </c:pt>
                <c:pt idx="25">
                  <c:v>42886</c:v>
                </c:pt>
                <c:pt idx="26">
                  <c:v>42887</c:v>
                </c:pt>
                <c:pt idx="27">
                  <c:v>42888</c:v>
                </c:pt>
                <c:pt idx="28">
                  <c:v>42889</c:v>
                </c:pt>
                <c:pt idx="29">
                  <c:v>42890</c:v>
                </c:pt>
                <c:pt idx="30">
                  <c:v>42891</c:v>
                </c:pt>
                <c:pt idx="31">
                  <c:v>42892</c:v>
                </c:pt>
                <c:pt idx="32">
                  <c:v>42893</c:v>
                </c:pt>
                <c:pt idx="33">
                  <c:v>42894</c:v>
                </c:pt>
                <c:pt idx="34">
                  <c:v>42895</c:v>
                </c:pt>
                <c:pt idx="35">
                  <c:v>42896</c:v>
                </c:pt>
                <c:pt idx="36">
                  <c:v>42897</c:v>
                </c:pt>
                <c:pt idx="37">
                  <c:v>42898</c:v>
                </c:pt>
                <c:pt idx="38">
                  <c:v>42899</c:v>
                </c:pt>
                <c:pt idx="39">
                  <c:v>42900</c:v>
                </c:pt>
                <c:pt idx="40">
                  <c:v>42901</c:v>
                </c:pt>
                <c:pt idx="41">
                  <c:v>42902</c:v>
                </c:pt>
                <c:pt idx="42">
                  <c:v>42903</c:v>
                </c:pt>
                <c:pt idx="43">
                  <c:v>42904</c:v>
                </c:pt>
                <c:pt idx="44">
                  <c:v>42905</c:v>
                </c:pt>
                <c:pt idx="45">
                  <c:v>42906</c:v>
                </c:pt>
                <c:pt idx="46">
                  <c:v>42907</c:v>
                </c:pt>
                <c:pt idx="47">
                  <c:v>42908</c:v>
                </c:pt>
                <c:pt idx="48">
                  <c:v>42909</c:v>
                </c:pt>
                <c:pt idx="49">
                  <c:v>42910</c:v>
                </c:pt>
                <c:pt idx="50">
                  <c:v>42911</c:v>
                </c:pt>
                <c:pt idx="51">
                  <c:v>42912</c:v>
                </c:pt>
                <c:pt idx="52">
                  <c:v>42913</c:v>
                </c:pt>
                <c:pt idx="53">
                  <c:v>42914</c:v>
                </c:pt>
                <c:pt idx="54">
                  <c:v>42915</c:v>
                </c:pt>
                <c:pt idx="55">
                  <c:v>42916</c:v>
                </c:pt>
                <c:pt idx="56">
                  <c:v>42917</c:v>
                </c:pt>
                <c:pt idx="57">
                  <c:v>42918</c:v>
                </c:pt>
                <c:pt idx="58">
                  <c:v>42919</c:v>
                </c:pt>
                <c:pt idx="59">
                  <c:v>42920</c:v>
                </c:pt>
                <c:pt idx="60">
                  <c:v>42921</c:v>
                </c:pt>
                <c:pt idx="61">
                  <c:v>42922</c:v>
                </c:pt>
                <c:pt idx="62">
                  <c:v>42923</c:v>
                </c:pt>
                <c:pt idx="63">
                  <c:v>42924</c:v>
                </c:pt>
                <c:pt idx="64">
                  <c:v>42925</c:v>
                </c:pt>
                <c:pt idx="65">
                  <c:v>42926</c:v>
                </c:pt>
                <c:pt idx="66">
                  <c:v>42927</c:v>
                </c:pt>
                <c:pt idx="67">
                  <c:v>42928</c:v>
                </c:pt>
                <c:pt idx="68">
                  <c:v>42929</c:v>
                </c:pt>
                <c:pt idx="69">
                  <c:v>42930</c:v>
                </c:pt>
                <c:pt idx="70">
                  <c:v>42931</c:v>
                </c:pt>
                <c:pt idx="71">
                  <c:v>42932</c:v>
                </c:pt>
                <c:pt idx="72">
                  <c:v>42933</c:v>
                </c:pt>
                <c:pt idx="73">
                  <c:v>42934</c:v>
                </c:pt>
                <c:pt idx="74">
                  <c:v>42935</c:v>
                </c:pt>
                <c:pt idx="75">
                  <c:v>42936</c:v>
                </c:pt>
                <c:pt idx="76">
                  <c:v>42937</c:v>
                </c:pt>
                <c:pt idx="77">
                  <c:v>42938</c:v>
                </c:pt>
                <c:pt idx="78">
                  <c:v>42939</c:v>
                </c:pt>
                <c:pt idx="79">
                  <c:v>42940</c:v>
                </c:pt>
                <c:pt idx="80">
                  <c:v>42941</c:v>
                </c:pt>
                <c:pt idx="81">
                  <c:v>42942</c:v>
                </c:pt>
                <c:pt idx="82">
                  <c:v>42943</c:v>
                </c:pt>
                <c:pt idx="83">
                  <c:v>42944</c:v>
                </c:pt>
                <c:pt idx="84">
                  <c:v>42945</c:v>
                </c:pt>
                <c:pt idx="85">
                  <c:v>42946</c:v>
                </c:pt>
                <c:pt idx="86">
                  <c:v>42947</c:v>
                </c:pt>
                <c:pt idx="87">
                  <c:v>42948</c:v>
                </c:pt>
                <c:pt idx="88">
                  <c:v>42949</c:v>
                </c:pt>
                <c:pt idx="89">
                  <c:v>42950</c:v>
                </c:pt>
                <c:pt idx="90">
                  <c:v>42951</c:v>
                </c:pt>
                <c:pt idx="91">
                  <c:v>42952</c:v>
                </c:pt>
                <c:pt idx="92">
                  <c:v>42953</c:v>
                </c:pt>
                <c:pt idx="93">
                  <c:v>42954</c:v>
                </c:pt>
                <c:pt idx="94">
                  <c:v>42955</c:v>
                </c:pt>
                <c:pt idx="95">
                  <c:v>42956</c:v>
                </c:pt>
                <c:pt idx="96">
                  <c:v>42957</c:v>
                </c:pt>
                <c:pt idx="97">
                  <c:v>42958</c:v>
                </c:pt>
                <c:pt idx="98">
                  <c:v>42959</c:v>
                </c:pt>
                <c:pt idx="99">
                  <c:v>42960</c:v>
                </c:pt>
                <c:pt idx="100">
                  <c:v>42961</c:v>
                </c:pt>
                <c:pt idx="101">
                  <c:v>42962</c:v>
                </c:pt>
                <c:pt idx="102">
                  <c:v>42963</c:v>
                </c:pt>
                <c:pt idx="103">
                  <c:v>42964</c:v>
                </c:pt>
                <c:pt idx="104">
                  <c:v>42965</c:v>
                </c:pt>
                <c:pt idx="105">
                  <c:v>42966</c:v>
                </c:pt>
                <c:pt idx="106">
                  <c:v>42967</c:v>
                </c:pt>
                <c:pt idx="107">
                  <c:v>42968</c:v>
                </c:pt>
                <c:pt idx="108">
                  <c:v>42969</c:v>
                </c:pt>
                <c:pt idx="109">
                  <c:v>42970</c:v>
                </c:pt>
                <c:pt idx="110">
                  <c:v>42971</c:v>
                </c:pt>
                <c:pt idx="111">
                  <c:v>42972</c:v>
                </c:pt>
                <c:pt idx="112">
                  <c:v>42973</c:v>
                </c:pt>
                <c:pt idx="113">
                  <c:v>42974</c:v>
                </c:pt>
                <c:pt idx="114">
                  <c:v>42975</c:v>
                </c:pt>
                <c:pt idx="115">
                  <c:v>42976</c:v>
                </c:pt>
                <c:pt idx="116">
                  <c:v>42977</c:v>
                </c:pt>
                <c:pt idx="117">
                  <c:v>42978</c:v>
                </c:pt>
                <c:pt idx="118">
                  <c:v>42979</c:v>
                </c:pt>
                <c:pt idx="119">
                  <c:v>42980</c:v>
                </c:pt>
                <c:pt idx="120">
                  <c:v>42981</c:v>
                </c:pt>
                <c:pt idx="121">
                  <c:v>42982</c:v>
                </c:pt>
                <c:pt idx="122">
                  <c:v>42983</c:v>
                </c:pt>
                <c:pt idx="123">
                  <c:v>42984</c:v>
                </c:pt>
                <c:pt idx="124">
                  <c:v>42985</c:v>
                </c:pt>
                <c:pt idx="125">
                  <c:v>42986</c:v>
                </c:pt>
                <c:pt idx="126">
                  <c:v>42987</c:v>
                </c:pt>
                <c:pt idx="127">
                  <c:v>42988</c:v>
                </c:pt>
                <c:pt idx="128">
                  <c:v>42989</c:v>
                </c:pt>
                <c:pt idx="129">
                  <c:v>42990</c:v>
                </c:pt>
                <c:pt idx="130">
                  <c:v>42991</c:v>
                </c:pt>
                <c:pt idx="131">
                  <c:v>42992</c:v>
                </c:pt>
                <c:pt idx="132">
                  <c:v>42993</c:v>
                </c:pt>
                <c:pt idx="133">
                  <c:v>42994</c:v>
                </c:pt>
                <c:pt idx="134">
                  <c:v>42995</c:v>
                </c:pt>
                <c:pt idx="135">
                  <c:v>42996</c:v>
                </c:pt>
                <c:pt idx="136">
                  <c:v>42997</c:v>
                </c:pt>
                <c:pt idx="137">
                  <c:v>42998</c:v>
                </c:pt>
                <c:pt idx="138">
                  <c:v>42999</c:v>
                </c:pt>
                <c:pt idx="139">
                  <c:v>43000</c:v>
                </c:pt>
                <c:pt idx="140">
                  <c:v>43001</c:v>
                </c:pt>
                <c:pt idx="141">
                  <c:v>43002</c:v>
                </c:pt>
                <c:pt idx="142">
                  <c:v>43003</c:v>
                </c:pt>
                <c:pt idx="143">
                  <c:v>43004</c:v>
                </c:pt>
                <c:pt idx="144">
                  <c:v>43005</c:v>
                </c:pt>
                <c:pt idx="145">
                  <c:v>43006</c:v>
                </c:pt>
                <c:pt idx="146">
                  <c:v>43007</c:v>
                </c:pt>
                <c:pt idx="147">
                  <c:v>43008</c:v>
                </c:pt>
                <c:pt idx="148">
                  <c:v>43009</c:v>
                </c:pt>
                <c:pt idx="149">
                  <c:v>43010</c:v>
                </c:pt>
                <c:pt idx="150">
                  <c:v>43011</c:v>
                </c:pt>
                <c:pt idx="151">
                  <c:v>43012</c:v>
                </c:pt>
                <c:pt idx="152">
                  <c:v>43013</c:v>
                </c:pt>
                <c:pt idx="153">
                  <c:v>43014</c:v>
                </c:pt>
                <c:pt idx="154">
                  <c:v>43015</c:v>
                </c:pt>
                <c:pt idx="155">
                  <c:v>43016</c:v>
                </c:pt>
                <c:pt idx="156">
                  <c:v>43017</c:v>
                </c:pt>
                <c:pt idx="157">
                  <c:v>43018</c:v>
                </c:pt>
                <c:pt idx="158">
                  <c:v>43019</c:v>
                </c:pt>
                <c:pt idx="159">
                  <c:v>43020</c:v>
                </c:pt>
                <c:pt idx="160">
                  <c:v>43021</c:v>
                </c:pt>
                <c:pt idx="161">
                  <c:v>43022</c:v>
                </c:pt>
                <c:pt idx="162">
                  <c:v>43023</c:v>
                </c:pt>
                <c:pt idx="163">
                  <c:v>43024</c:v>
                </c:pt>
                <c:pt idx="164">
                  <c:v>43025</c:v>
                </c:pt>
                <c:pt idx="165">
                  <c:v>43026</c:v>
                </c:pt>
                <c:pt idx="166">
                  <c:v>43027</c:v>
                </c:pt>
                <c:pt idx="167">
                  <c:v>43028</c:v>
                </c:pt>
                <c:pt idx="168">
                  <c:v>43029</c:v>
                </c:pt>
                <c:pt idx="169">
                  <c:v>43030</c:v>
                </c:pt>
                <c:pt idx="170">
                  <c:v>43031</c:v>
                </c:pt>
                <c:pt idx="171">
                  <c:v>43032</c:v>
                </c:pt>
                <c:pt idx="172">
                  <c:v>43033</c:v>
                </c:pt>
                <c:pt idx="173">
                  <c:v>43034</c:v>
                </c:pt>
                <c:pt idx="174">
                  <c:v>43035</c:v>
                </c:pt>
                <c:pt idx="175">
                  <c:v>43036</c:v>
                </c:pt>
                <c:pt idx="176">
                  <c:v>43037</c:v>
                </c:pt>
                <c:pt idx="177">
                  <c:v>43038</c:v>
                </c:pt>
                <c:pt idx="178">
                  <c:v>43039</c:v>
                </c:pt>
                <c:pt idx="179">
                  <c:v>43040</c:v>
                </c:pt>
                <c:pt idx="180">
                  <c:v>43041</c:v>
                </c:pt>
                <c:pt idx="181">
                  <c:v>43042</c:v>
                </c:pt>
                <c:pt idx="182">
                  <c:v>43043</c:v>
                </c:pt>
                <c:pt idx="183">
                  <c:v>43044</c:v>
                </c:pt>
                <c:pt idx="184">
                  <c:v>43045</c:v>
                </c:pt>
                <c:pt idx="185">
                  <c:v>43046</c:v>
                </c:pt>
                <c:pt idx="186">
                  <c:v>43047</c:v>
                </c:pt>
                <c:pt idx="187">
                  <c:v>43048</c:v>
                </c:pt>
                <c:pt idx="188">
                  <c:v>43049</c:v>
                </c:pt>
                <c:pt idx="189">
                  <c:v>43050</c:v>
                </c:pt>
                <c:pt idx="190">
                  <c:v>43051</c:v>
                </c:pt>
                <c:pt idx="191">
                  <c:v>43052</c:v>
                </c:pt>
                <c:pt idx="192">
                  <c:v>43053</c:v>
                </c:pt>
                <c:pt idx="193">
                  <c:v>43054</c:v>
                </c:pt>
                <c:pt idx="194">
                  <c:v>43055</c:v>
                </c:pt>
                <c:pt idx="195">
                  <c:v>43056</c:v>
                </c:pt>
                <c:pt idx="196">
                  <c:v>43057</c:v>
                </c:pt>
                <c:pt idx="197">
                  <c:v>43058</c:v>
                </c:pt>
                <c:pt idx="198">
                  <c:v>43059</c:v>
                </c:pt>
                <c:pt idx="199">
                  <c:v>43060</c:v>
                </c:pt>
                <c:pt idx="200">
                  <c:v>43061</c:v>
                </c:pt>
                <c:pt idx="201">
                  <c:v>43062</c:v>
                </c:pt>
                <c:pt idx="202">
                  <c:v>43063</c:v>
                </c:pt>
                <c:pt idx="203">
                  <c:v>43064</c:v>
                </c:pt>
                <c:pt idx="204">
                  <c:v>43065</c:v>
                </c:pt>
                <c:pt idx="205">
                  <c:v>43066</c:v>
                </c:pt>
                <c:pt idx="206">
                  <c:v>43067</c:v>
                </c:pt>
                <c:pt idx="207">
                  <c:v>43068</c:v>
                </c:pt>
                <c:pt idx="208">
                  <c:v>43069</c:v>
                </c:pt>
                <c:pt idx="209">
                  <c:v>43070</c:v>
                </c:pt>
                <c:pt idx="210">
                  <c:v>43071</c:v>
                </c:pt>
                <c:pt idx="211">
                  <c:v>43072</c:v>
                </c:pt>
                <c:pt idx="212">
                  <c:v>43073</c:v>
                </c:pt>
                <c:pt idx="213">
                  <c:v>43074</c:v>
                </c:pt>
                <c:pt idx="214">
                  <c:v>43075</c:v>
                </c:pt>
                <c:pt idx="215">
                  <c:v>43076</c:v>
                </c:pt>
                <c:pt idx="216">
                  <c:v>43077</c:v>
                </c:pt>
                <c:pt idx="217">
                  <c:v>43078</c:v>
                </c:pt>
                <c:pt idx="218">
                  <c:v>43079</c:v>
                </c:pt>
                <c:pt idx="219">
                  <c:v>43080</c:v>
                </c:pt>
                <c:pt idx="220">
                  <c:v>43081</c:v>
                </c:pt>
                <c:pt idx="221">
                  <c:v>43082</c:v>
                </c:pt>
                <c:pt idx="222">
                  <c:v>43083</c:v>
                </c:pt>
                <c:pt idx="223">
                  <c:v>43084</c:v>
                </c:pt>
                <c:pt idx="224">
                  <c:v>43085</c:v>
                </c:pt>
                <c:pt idx="225">
                  <c:v>43086</c:v>
                </c:pt>
                <c:pt idx="226">
                  <c:v>43087</c:v>
                </c:pt>
                <c:pt idx="227">
                  <c:v>43088</c:v>
                </c:pt>
                <c:pt idx="228">
                  <c:v>43089</c:v>
                </c:pt>
                <c:pt idx="229">
                  <c:v>43090</c:v>
                </c:pt>
                <c:pt idx="230">
                  <c:v>43091</c:v>
                </c:pt>
                <c:pt idx="231">
                  <c:v>43092</c:v>
                </c:pt>
                <c:pt idx="232">
                  <c:v>43093</c:v>
                </c:pt>
                <c:pt idx="233">
                  <c:v>43094</c:v>
                </c:pt>
                <c:pt idx="234">
                  <c:v>43095</c:v>
                </c:pt>
                <c:pt idx="235">
                  <c:v>43096</c:v>
                </c:pt>
                <c:pt idx="236">
                  <c:v>43097</c:v>
                </c:pt>
                <c:pt idx="237">
                  <c:v>43098</c:v>
                </c:pt>
                <c:pt idx="238">
                  <c:v>43099</c:v>
                </c:pt>
                <c:pt idx="239">
                  <c:v>43100</c:v>
                </c:pt>
                <c:pt idx="240">
                  <c:v>43101</c:v>
                </c:pt>
                <c:pt idx="241">
                  <c:v>43102</c:v>
                </c:pt>
                <c:pt idx="242">
                  <c:v>43103</c:v>
                </c:pt>
                <c:pt idx="243">
                  <c:v>43104</c:v>
                </c:pt>
                <c:pt idx="244">
                  <c:v>43105</c:v>
                </c:pt>
                <c:pt idx="245">
                  <c:v>43106</c:v>
                </c:pt>
                <c:pt idx="246">
                  <c:v>43107</c:v>
                </c:pt>
                <c:pt idx="247">
                  <c:v>43108</c:v>
                </c:pt>
                <c:pt idx="248">
                  <c:v>43109</c:v>
                </c:pt>
                <c:pt idx="249">
                  <c:v>43110</c:v>
                </c:pt>
                <c:pt idx="250">
                  <c:v>43111</c:v>
                </c:pt>
                <c:pt idx="251">
                  <c:v>43112</c:v>
                </c:pt>
                <c:pt idx="252">
                  <c:v>43113</c:v>
                </c:pt>
                <c:pt idx="253">
                  <c:v>43114</c:v>
                </c:pt>
                <c:pt idx="254">
                  <c:v>43115</c:v>
                </c:pt>
                <c:pt idx="255">
                  <c:v>43116</c:v>
                </c:pt>
                <c:pt idx="256">
                  <c:v>43117</c:v>
                </c:pt>
                <c:pt idx="257">
                  <c:v>43118</c:v>
                </c:pt>
                <c:pt idx="258">
                  <c:v>43119</c:v>
                </c:pt>
                <c:pt idx="259">
                  <c:v>43120</c:v>
                </c:pt>
                <c:pt idx="260">
                  <c:v>43121</c:v>
                </c:pt>
                <c:pt idx="261">
                  <c:v>43122</c:v>
                </c:pt>
                <c:pt idx="262">
                  <c:v>43123</c:v>
                </c:pt>
                <c:pt idx="263">
                  <c:v>43124</c:v>
                </c:pt>
                <c:pt idx="264">
                  <c:v>43125</c:v>
                </c:pt>
                <c:pt idx="265">
                  <c:v>43126</c:v>
                </c:pt>
                <c:pt idx="266">
                  <c:v>43127</c:v>
                </c:pt>
                <c:pt idx="267">
                  <c:v>43128</c:v>
                </c:pt>
                <c:pt idx="268">
                  <c:v>43129</c:v>
                </c:pt>
                <c:pt idx="269">
                  <c:v>43130</c:v>
                </c:pt>
                <c:pt idx="270">
                  <c:v>43131</c:v>
                </c:pt>
                <c:pt idx="271">
                  <c:v>43132</c:v>
                </c:pt>
                <c:pt idx="272">
                  <c:v>43133</c:v>
                </c:pt>
                <c:pt idx="273">
                  <c:v>43134</c:v>
                </c:pt>
                <c:pt idx="274">
                  <c:v>43135</c:v>
                </c:pt>
                <c:pt idx="275">
                  <c:v>43136</c:v>
                </c:pt>
                <c:pt idx="276">
                  <c:v>43137</c:v>
                </c:pt>
                <c:pt idx="277">
                  <c:v>43138</c:v>
                </c:pt>
                <c:pt idx="278">
                  <c:v>43139</c:v>
                </c:pt>
                <c:pt idx="279">
                  <c:v>43140</c:v>
                </c:pt>
                <c:pt idx="280">
                  <c:v>43141</c:v>
                </c:pt>
                <c:pt idx="281">
                  <c:v>43142</c:v>
                </c:pt>
                <c:pt idx="282">
                  <c:v>43143</c:v>
                </c:pt>
                <c:pt idx="283">
                  <c:v>43144</c:v>
                </c:pt>
                <c:pt idx="284">
                  <c:v>43145</c:v>
                </c:pt>
                <c:pt idx="285">
                  <c:v>43146</c:v>
                </c:pt>
                <c:pt idx="286">
                  <c:v>43147</c:v>
                </c:pt>
                <c:pt idx="287">
                  <c:v>43148</c:v>
                </c:pt>
                <c:pt idx="288">
                  <c:v>43149</c:v>
                </c:pt>
                <c:pt idx="289">
                  <c:v>43150</c:v>
                </c:pt>
                <c:pt idx="290">
                  <c:v>43151</c:v>
                </c:pt>
                <c:pt idx="291">
                  <c:v>43152</c:v>
                </c:pt>
                <c:pt idx="292">
                  <c:v>43153</c:v>
                </c:pt>
                <c:pt idx="293">
                  <c:v>43154</c:v>
                </c:pt>
                <c:pt idx="294">
                  <c:v>43155</c:v>
                </c:pt>
                <c:pt idx="295">
                  <c:v>43156</c:v>
                </c:pt>
                <c:pt idx="296">
                  <c:v>43157</c:v>
                </c:pt>
                <c:pt idx="297">
                  <c:v>43158</c:v>
                </c:pt>
                <c:pt idx="298">
                  <c:v>43159</c:v>
                </c:pt>
                <c:pt idx="299">
                  <c:v>43160</c:v>
                </c:pt>
                <c:pt idx="300">
                  <c:v>43161</c:v>
                </c:pt>
                <c:pt idx="301">
                  <c:v>43162</c:v>
                </c:pt>
                <c:pt idx="302">
                  <c:v>43163</c:v>
                </c:pt>
                <c:pt idx="303">
                  <c:v>43164</c:v>
                </c:pt>
                <c:pt idx="304">
                  <c:v>43165</c:v>
                </c:pt>
                <c:pt idx="305">
                  <c:v>43166</c:v>
                </c:pt>
                <c:pt idx="306">
                  <c:v>43167</c:v>
                </c:pt>
                <c:pt idx="307">
                  <c:v>43168</c:v>
                </c:pt>
                <c:pt idx="308">
                  <c:v>43169</c:v>
                </c:pt>
                <c:pt idx="309">
                  <c:v>43170</c:v>
                </c:pt>
                <c:pt idx="310">
                  <c:v>43171</c:v>
                </c:pt>
                <c:pt idx="311">
                  <c:v>43172</c:v>
                </c:pt>
                <c:pt idx="312">
                  <c:v>43173</c:v>
                </c:pt>
                <c:pt idx="313">
                  <c:v>43174</c:v>
                </c:pt>
                <c:pt idx="314">
                  <c:v>43175</c:v>
                </c:pt>
                <c:pt idx="315">
                  <c:v>43176</c:v>
                </c:pt>
                <c:pt idx="316">
                  <c:v>43177</c:v>
                </c:pt>
                <c:pt idx="317">
                  <c:v>43178</c:v>
                </c:pt>
                <c:pt idx="318">
                  <c:v>43179</c:v>
                </c:pt>
                <c:pt idx="319">
                  <c:v>43180</c:v>
                </c:pt>
                <c:pt idx="320">
                  <c:v>43181</c:v>
                </c:pt>
                <c:pt idx="321">
                  <c:v>43182</c:v>
                </c:pt>
                <c:pt idx="322">
                  <c:v>43183</c:v>
                </c:pt>
                <c:pt idx="323">
                  <c:v>43184</c:v>
                </c:pt>
                <c:pt idx="324">
                  <c:v>43185</c:v>
                </c:pt>
                <c:pt idx="325">
                  <c:v>43186</c:v>
                </c:pt>
                <c:pt idx="326">
                  <c:v>43187</c:v>
                </c:pt>
                <c:pt idx="327">
                  <c:v>43188</c:v>
                </c:pt>
                <c:pt idx="328">
                  <c:v>43189</c:v>
                </c:pt>
                <c:pt idx="329">
                  <c:v>43190</c:v>
                </c:pt>
                <c:pt idx="330">
                  <c:v>43191</c:v>
                </c:pt>
                <c:pt idx="331">
                  <c:v>43192</c:v>
                </c:pt>
                <c:pt idx="332">
                  <c:v>43193</c:v>
                </c:pt>
                <c:pt idx="333">
                  <c:v>43194</c:v>
                </c:pt>
                <c:pt idx="334">
                  <c:v>43195</c:v>
                </c:pt>
                <c:pt idx="335">
                  <c:v>43196</c:v>
                </c:pt>
                <c:pt idx="336">
                  <c:v>43197</c:v>
                </c:pt>
                <c:pt idx="337">
                  <c:v>43198</c:v>
                </c:pt>
                <c:pt idx="338">
                  <c:v>43199</c:v>
                </c:pt>
                <c:pt idx="339">
                  <c:v>43200</c:v>
                </c:pt>
                <c:pt idx="340">
                  <c:v>43201</c:v>
                </c:pt>
                <c:pt idx="341">
                  <c:v>43202</c:v>
                </c:pt>
                <c:pt idx="342">
                  <c:v>43203</c:v>
                </c:pt>
                <c:pt idx="343">
                  <c:v>43204</c:v>
                </c:pt>
                <c:pt idx="344">
                  <c:v>43205</c:v>
                </c:pt>
                <c:pt idx="345">
                  <c:v>43206</c:v>
                </c:pt>
                <c:pt idx="346">
                  <c:v>43207</c:v>
                </c:pt>
                <c:pt idx="347">
                  <c:v>43208</c:v>
                </c:pt>
                <c:pt idx="348">
                  <c:v>43209</c:v>
                </c:pt>
                <c:pt idx="349">
                  <c:v>43210</c:v>
                </c:pt>
                <c:pt idx="350">
                  <c:v>43211</c:v>
                </c:pt>
                <c:pt idx="351">
                  <c:v>43212</c:v>
                </c:pt>
                <c:pt idx="352">
                  <c:v>43213</c:v>
                </c:pt>
                <c:pt idx="353">
                  <c:v>43214</c:v>
                </c:pt>
                <c:pt idx="354">
                  <c:v>43215</c:v>
                </c:pt>
                <c:pt idx="355">
                  <c:v>43216</c:v>
                </c:pt>
                <c:pt idx="356">
                  <c:v>43217</c:v>
                </c:pt>
                <c:pt idx="357">
                  <c:v>43218</c:v>
                </c:pt>
                <c:pt idx="358">
                  <c:v>43219</c:v>
                </c:pt>
                <c:pt idx="359">
                  <c:v>43220</c:v>
                </c:pt>
                <c:pt idx="360">
                  <c:v>43221</c:v>
                </c:pt>
                <c:pt idx="361">
                  <c:v>43222</c:v>
                </c:pt>
                <c:pt idx="362">
                  <c:v>43223</c:v>
                </c:pt>
                <c:pt idx="363">
                  <c:v>43224</c:v>
                </c:pt>
                <c:pt idx="364">
                  <c:v>43225</c:v>
                </c:pt>
                <c:pt idx="365">
                  <c:v>43226</c:v>
                </c:pt>
                <c:pt idx="366">
                  <c:v>42860</c:v>
                </c:pt>
              </c:numCache>
            </c:numRef>
          </c:cat>
          <c:val>
            <c:numRef>
              <c:f>eplus_yld_12m!$C$2:$C$500</c:f>
              <c:numCache>
                <c:formatCode>General</c:formatCode>
                <c:ptCount val="499"/>
                <c:pt idx="0">
                  <c:v>100</c:v>
                </c:pt>
                <c:pt idx="1">
                  <c:v>100.02489971330937</c:v>
                </c:pt>
                <c:pt idx="2">
                  <c:v>99.837246861522175</c:v>
                </c:pt>
                <c:pt idx="3">
                  <c:v>99.543573559963434</c:v>
                </c:pt>
                <c:pt idx="4">
                  <c:v>99.581288995624874</c:v>
                </c:pt>
                <c:pt idx="5">
                  <c:v>99.334332268090463</c:v>
                </c:pt>
                <c:pt idx="6">
                  <c:v>99.334332268090463</c:v>
                </c:pt>
                <c:pt idx="7">
                  <c:v>99.334332268090463</c:v>
                </c:pt>
                <c:pt idx="8">
                  <c:v>99.406390203553386</c:v>
                </c:pt>
                <c:pt idx="9">
                  <c:v>99.645316861312097</c:v>
                </c:pt>
                <c:pt idx="10">
                  <c:v>99.737453582187015</c:v>
                </c:pt>
                <c:pt idx="11">
                  <c:v>99.90181856286344</c:v>
                </c:pt>
                <c:pt idx="12">
                  <c:v>100.01249890334607</c:v>
                </c:pt>
                <c:pt idx="13">
                  <c:v>100.01249890334607</c:v>
                </c:pt>
                <c:pt idx="14">
                  <c:v>100.01249890334607</c:v>
                </c:pt>
                <c:pt idx="15">
                  <c:v>99.95848051163135</c:v>
                </c:pt>
                <c:pt idx="16">
                  <c:v>99.920920374100021</c:v>
                </c:pt>
                <c:pt idx="17">
                  <c:v>99.90756770504295</c:v>
                </c:pt>
                <c:pt idx="18">
                  <c:v>99.971129225338942</c:v>
                </c:pt>
                <c:pt idx="19">
                  <c:v>99.748567698137578</c:v>
                </c:pt>
                <c:pt idx="20">
                  <c:v>99.748567698137578</c:v>
                </c:pt>
                <c:pt idx="21">
                  <c:v>99.748567698137578</c:v>
                </c:pt>
                <c:pt idx="22">
                  <c:v>99.591968311512645</c:v>
                </c:pt>
                <c:pt idx="23">
                  <c:v>99.627382262628188</c:v>
                </c:pt>
                <c:pt idx="24">
                  <c:v>99.866716307376407</c:v>
                </c:pt>
                <c:pt idx="25">
                  <c:v>100.07459070167621</c:v>
                </c:pt>
                <c:pt idx="26">
                  <c:v>100.14132639216137</c:v>
                </c:pt>
                <c:pt idx="27">
                  <c:v>100.14132639216137</c:v>
                </c:pt>
                <c:pt idx="28">
                  <c:v>100.14132639216137</c:v>
                </c:pt>
                <c:pt idx="29">
                  <c:v>100.27283135485008</c:v>
                </c:pt>
                <c:pt idx="30">
                  <c:v>100.29703169181236</c:v>
                </c:pt>
                <c:pt idx="31">
                  <c:v>100.31156829405583</c:v>
                </c:pt>
                <c:pt idx="32">
                  <c:v>100.33132922659267</c:v>
                </c:pt>
                <c:pt idx="33">
                  <c:v>100.31147266659984</c:v>
                </c:pt>
                <c:pt idx="34">
                  <c:v>100.31147266659984</c:v>
                </c:pt>
                <c:pt idx="35">
                  <c:v>100.31147266659984</c:v>
                </c:pt>
                <c:pt idx="36">
                  <c:v>100.25277070267069</c:v>
                </c:pt>
                <c:pt idx="37">
                  <c:v>100.11713711173883</c:v>
                </c:pt>
                <c:pt idx="38">
                  <c:v>100.17514011672698</c:v>
                </c:pt>
                <c:pt idx="39">
                  <c:v>100.27000702116288</c:v>
                </c:pt>
                <c:pt idx="40">
                  <c:v>100.27600306717484</c:v>
                </c:pt>
                <c:pt idx="41">
                  <c:v>100.27600306717484</c:v>
                </c:pt>
                <c:pt idx="42">
                  <c:v>100.27600306717484</c:v>
                </c:pt>
                <c:pt idx="43">
                  <c:v>100.16952777908897</c:v>
                </c:pt>
                <c:pt idx="44">
                  <c:v>100.1777079754082</c:v>
                </c:pt>
                <c:pt idx="45">
                  <c:v>100.07600008101664</c:v>
                </c:pt>
                <c:pt idx="46">
                  <c:v>99.962316067449208</c:v>
                </c:pt>
                <c:pt idx="47">
                  <c:v>100.02169764369835</c:v>
                </c:pt>
                <c:pt idx="48">
                  <c:v>100.02169764369835</c:v>
                </c:pt>
                <c:pt idx="49">
                  <c:v>100.02169764369835</c:v>
                </c:pt>
                <c:pt idx="50">
                  <c:v>100.02169764369835</c:v>
                </c:pt>
                <c:pt idx="51">
                  <c:v>99.917142880949427</c:v>
                </c:pt>
                <c:pt idx="52">
                  <c:v>99.712559488875058</c:v>
                </c:pt>
                <c:pt idx="53">
                  <c:v>99.679523779251795</c:v>
                </c:pt>
                <c:pt idx="54">
                  <c:v>99.551406241033035</c:v>
                </c:pt>
                <c:pt idx="55">
                  <c:v>99.551406241033035</c:v>
                </c:pt>
                <c:pt idx="56">
                  <c:v>99.551406241033035</c:v>
                </c:pt>
                <c:pt idx="57">
                  <c:v>99.545707882408081</c:v>
                </c:pt>
                <c:pt idx="58">
                  <c:v>99.486656308497814</c:v>
                </c:pt>
                <c:pt idx="59">
                  <c:v>99.405643117478832</c:v>
                </c:pt>
                <c:pt idx="60">
                  <c:v>99.411625475862351</c:v>
                </c:pt>
                <c:pt idx="61">
                  <c:v>99.186801550706122</c:v>
                </c:pt>
                <c:pt idx="62">
                  <c:v>99.186801550706122</c:v>
                </c:pt>
                <c:pt idx="63">
                  <c:v>99.186801550706122</c:v>
                </c:pt>
                <c:pt idx="64">
                  <c:v>99.116623006115219</c:v>
                </c:pt>
                <c:pt idx="65">
                  <c:v>99.128318252868326</c:v>
                </c:pt>
                <c:pt idx="66">
                  <c:v>99.317576637006468</c:v>
                </c:pt>
                <c:pt idx="67">
                  <c:v>99.41933918756007</c:v>
                </c:pt>
                <c:pt idx="68">
                  <c:v>99.144946502157637</c:v>
                </c:pt>
                <c:pt idx="69">
                  <c:v>99.144946502157637</c:v>
                </c:pt>
                <c:pt idx="70">
                  <c:v>99.144946502157637</c:v>
                </c:pt>
                <c:pt idx="71">
                  <c:v>98.905094980479959</c:v>
                </c:pt>
                <c:pt idx="72">
                  <c:v>98.783363947641661</c:v>
                </c:pt>
                <c:pt idx="73">
                  <c:v>98.726779774039201</c:v>
                </c:pt>
                <c:pt idx="74">
                  <c:v>98.635952705161344</c:v>
                </c:pt>
                <c:pt idx="75">
                  <c:v>98.65428045050173</c:v>
                </c:pt>
                <c:pt idx="76">
                  <c:v>98.65428045050173</c:v>
                </c:pt>
                <c:pt idx="77">
                  <c:v>98.65428045050173</c:v>
                </c:pt>
                <c:pt idx="78">
                  <c:v>98.826263735375775</c:v>
                </c:pt>
                <c:pt idx="79">
                  <c:v>98.983903262995128</c:v>
                </c:pt>
                <c:pt idx="80">
                  <c:v>98.882021044376927</c:v>
                </c:pt>
                <c:pt idx="81">
                  <c:v>99.006776699138712</c:v>
                </c:pt>
                <c:pt idx="82">
                  <c:v>99.032075164674055</c:v>
                </c:pt>
                <c:pt idx="83">
                  <c:v>99.032075164674055</c:v>
                </c:pt>
                <c:pt idx="84">
                  <c:v>99.032075164674055</c:v>
                </c:pt>
                <c:pt idx="85">
                  <c:v>99.193143060852364</c:v>
                </c:pt>
                <c:pt idx="86">
                  <c:v>99.261621844305139</c:v>
                </c:pt>
                <c:pt idx="87">
                  <c:v>99.334426014080265</c:v>
                </c:pt>
                <c:pt idx="88">
                  <c:v>99.36448519371433</c:v>
                </c:pt>
                <c:pt idx="89">
                  <c:v>99.172279063684044</c:v>
                </c:pt>
                <c:pt idx="90">
                  <c:v>99.172279063684044</c:v>
                </c:pt>
                <c:pt idx="91">
                  <c:v>99.172279063684044</c:v>
                </c:pt>
                <c:pt idx="92">
                  <c:v>99.042094402017881</c:v>
                </c:pt>
                <c:pt idx="93">
                  <c:v>98.943640050207833</c:v>
                </c:pt>
                <c:pt idx="94">
                  <c:v>99.041439512185462</c:v>
                </c:pt>
                <c:pt idx="95">
                  <c:v>98.932668170128906</c:v>
                </c:pt>
                <c:pt idx="96">
                  <c:v>98.859573647330095</c:v>
                </c:pt>
                <c:pt idx="97">
                  <c:v>98.859573647330095</c:v>
                </c:pt>
                <c:pt idx="98">
                  <c:v>98.859573647330095</c:v>
                </c:pt>
                <c:pt idx="99">
                  <c:v>98.859573647330095</c:v>
                </c:pt>
                <c:pt idx="100">
                  <c:v>99.060630279577566</c:v>
                </c:pt>
                <c:pt idx="101">
                  <c:v>99.133281009815022</c:v>
                </c:pt>
                <c:pt idx="102">
                  <c:v>99.163125737179797</c:v>
                </c:pt>
                <c:pt idx="103">
                  <c:v>99.171928930538215</c:v>
                </c:pt>
                <c:pt idx="104">
                  <c:v>99.171928930538215</c:v>
                </c:pt>
                <c:pt idx="105">
                  <c:v>99.171928930538215</c:v>
                </c:pt>
                <c:pt idx="106">
                  <c:v>99.235746464405622</c:v>
                </c:pt>
                <c:pt idx="107">
                  <c:v>99.274582357267533</c:v>
                </c:pt>
                <c:pt idx="108">
                  <c:v>99.269611094414387</c:v>
                </c:pt>
                <c:pt idx="109">
                  <c:v>99.093809507128654</c:v>
                </c:pt>
                <c:pt idx="110">
                  <c:v>98.959617632769493</c:v>
                </c:pt>
                <c:pt idx="111">
                  <c:v>98.959617632769493</c:v>
                </c:pt>
                <c:pt idx="112">
                  <c:v>98.959617632769493</c:v>
                </c:pt>
                <c:pt idx="113">
                  <c:v>98.971320693784065</c:v>
                </c:pt>
                <c:pt idx="114">
                  <c:v>98.825538163833244</c:v>
                </c:pt>
                <c:pt idx="115">
                  <c:v>98.858762272491134</c:v>
                </c:pt>
                <c:pt idx="116">
                  <c:v>98.943024142025976</c:v>
                </c:pt>
                <c:pt idx="117">
                  <c:v>98.976885989198493</c:v>
                </c:pt>
                <c:pt idx="118">
                  <c:v>98.976885989198493</c:v>
                </c:pt>
                <c:pt idx="119">
                  <c:v>98.976885989198493</c:v>
                </c:pt>
                <c:pt idx="120">
                  <c:v>99.065332960603826</c:v>
                </c:pt>
                <c:pt idx="121">
                  <c:v>99.072567687694388</c:v>
                </c:pt>
                <c:pt idx="122">
                  <c:v>99.0704399807192</c:v>
                </c:pt>
                <c:pt idx="123">
                  <c:v>99.074219870005962</c:v>
                </c:pt>
                <c:pt idx="124">
                  <c:v>99.045008187435585</c:v>
                </c:pt>
                <c:pt idx="125">
                  <c:v>99.045008187435585</c:v>
                </c:pt>
                <c:pt idx="126">
                  <c:v>99.045008187435585</c:v>
                </c:pt>
                <c:pt idx="127">
                  <c:v>99.212642601691641</c:v>
                </c:pt>
                <c:pt idx="128">
                  <c:v>99.236039647814579</c:v>
                </c:pt>
                <c:pt idx="129">
                  <c:v>99.076447141015151</c:v>
                </c:pt>
                <c:pt idx="130">
                  <c:v>99.13942499739008</c:v>
                </c:pt>
                <c:pt idx="131">
                  <c:v>98.984706044305824</c:v>
                </c:pt>
                <c:pt idx="132">
                  <c:v>98.984706044305824</c:v>
                </c:pt>
                <c:pt idx="133">
                  <c:v>98.984706044305824</c:v>
                </c:pt>
                <c:pt idx="134">
                  <c:v>98.984706044305824</c:v>
                </c:pt>
                <c:pt idx="135">
                  <c:v>98.984706044305824</c:v>
                </c:pt>
                <c:pt idx="136">
                  <c:v>98.862943829375979</c:v>
                </c:pt>
                <c:pt idx="137">
                  <c:v>98.84658873724814</c:v>
                </c:pt>
                <c:pt idx="138">
                  <c:v>98.918417400171265</c:v>
                </c:pt>
                <c:pt idx="139">
                  <c:v>98.918417400171265</c:v>
                </c:pt>
                <c:pt idx="140">
                  <c:v>98.918417400171265</c:v>
                </c:pt>
                <c:pt idx="141">
                  <c:v>99.143676673971456</c:v>
                </c:pt>
                <c:pt idx="142">
                  <c:v>99.200033769337253</c:v>
                </c:pt>
                <c:pt idx="143">
                  <c:v>99.263684167152235</c:v>
                </c:pt>
                <c:pt idx="144">
                  <c:v>99.242897268095362</c:v>
                </c:pt>
                <c:pt idx="145">
                  <c:v>99.224530023664329</c:v>
                </c:pt>
                <c:pt idx="146">
                  <c:v>99.224530023664329</c:v>
                </c:pt>
                <c:pt idx="147">
                  <c:v>99.224530023664329</c:v>
                </c:pt>
                <c:pt idx="148">
                  <c:v>99.036274922505953</c:v>
                </c:pt>
                <c:pt idx="149">
                  <c:v>98.883949423222376</c:v>
                </c:pt>
                <c:pt idx="150">
                  <c:v>98.735730272555728</c:v>
                </c:pt>
                <c:pt idx="151">
                  <c:v>98.51686413178065</c:v>
                </c:pt>
                <c:pt idx="152">
                  <c:v>98.51686413178065</c:v>
                </c:pt>
                <c:pt idx="153">
                  <c:v>98.51686413178065</c:v>
                </c:pt>
                <c:pt idx="154">
                  <c:v>98.51686413178065</c:v>
                </c:pt>
                <c:pt idx="155">
                  <c:v>98.247048652945637</c:v>
                </c:pt>
                <c:pt idx="156">
                  <c:v>97.670117227472204</c:v>
                </c:pt>
                <c:pt idx="157">
                  <c:v>97.441920093987676</c:v>
                </c:pt>
                <c:pt idx="158">
                  <c:v>97.32971623500886</c:v>
                </c:pt>
                <c:pt idx="159">
                  <c:v>97.194743829054659</c:v>
                </c:pt>
                <c:pt idx="160">
                  <c:v>97.194743829054659</c:v>
                </c:pt>
                <c:pt idx="161">
                  <c:v>97.194743829054659</c:v>
                </c:pt>
                <c:pt idx="162">
                  <c:v>97.226115533581108</c:v>
                </c:pt>
                <c:pt idx="163">
                  <c:v>97.184327890325278</c:v>
                </c:pt>
                <c:pt idx="164">
                  <c:v>97.134263237576945</c:v>
                </c:pt>
                <c:pt idx="165">
                  <c:v>97.13456557375838</c:v>
                </c:pt>
                <c:pt idx="166">
                  <c:v>97.187933495426222</c:v>
                </c:pt>
                <c:pt idx="167">
                  <c:v>97.187933495426222</c:v>
                </c:pt>
                <c:pt idx="168">
                  <c:v>97.187933495426222</c:v>
                </c:pt>
                <c:pt idx="169">
                  <c:v>97.553784509730406</c:v>
                </c:pt>
                <c:pt idx="170">
                  <c:v>97.958256011569148</c:v>
                </c:pt>
                <c:pt idx="171">
                  <c:v>98.09879763854606</c:v>
                </c:pt>
                <c:pt idx="172">
                  <c:v>98.09879763854606</c:v>
                </c:pt>
                <c:pt idx="173">
                  <c:v>97.796066307294126</c:v>
                </c:pt>
                <c:pt idx="174">
                  <c:v>97.796066307294126</c:v>
                </c:pt>
                <c:pt idx="175">
                  <c:v>97.796066307294126</c:v>
                </c:pt>
                <c:pt idx="176">
                  <c:v>97.96924044212706</c:v>
                </c:pt>
                <c:pt idx="177">
                  <c:v>97.96924044212706</c:v>
                </c:pt>
                <c:pt idx="178">
                  <c:v>98.162414698620054</c:v>
                </c:pt>
                <c:pt idx="179">
                  <c:v>98.257577752821064</c:v>
                </c:pt>
                <c:pt idx="180">
                  <c:v>98.290690369030699</c:v>
                </c:pt>
                <c:pt idx="181">
                  <c:v>98.290690369030699</c:v>
                </c:pt>
                <c:pt idx="182">
                  <c:v>98.290690369030699</c:v>
                </c:pt>
                <c:pt idx="183">
                  <c:v>98.251634452463009</c:v>
                </c:pt>
                <c:pt idx="184">
                  <c:v>98.329726325254541</c:v>
                </c:pt>
                <c:pt idx="185">
                  <c:v>98.317898106301854</c:v>
                </c:pt>
                <c:pt idx="186">
                  <c:v>98.504674913692213</c:v>
                </c:pt>
                <c:pt idx="187">
                  <c:v>98.569326993359297</c:v>
                </c:pt>
                <c:pt idx="188">
                  <c:v>98.569326993359297</c:v>
                </c:pt>
                <c:pt idx="189">
                  <c:v>98.569326993359297</c:v>
                </c:pt>
                <c:pt idx="190">
                  <c:v>98.621181294096118</c:v>
                </c:pt>
                <c:pt idx="191">
                  <c:v>98.621483054946111</c:v>
                </c:pt>
                <c:pt idx="192">
                  <c:v>98.626814147208975</c:v>
                </c:pt>
                <c:pt idx="193">
                  <c:v>98.590202559691804</c:v>
                </c:pt>
                <c:pt idx="194">
                  <c:v>98.44767698948263</c:v>
                </c:pt>
                <c:pt idx="195">
                  <c:v>98.44767698948263</c:v>
                </c:pt>
                <c:pt idx="196">
                  <c:v>98.44767698948263</c:v>
                </c:pt>
                <c:pt idx="197">
                  <c:v>98.40608758397434</c:v>
                </c:pt>
                <c:pt idx="198">
                  <c:v>98.499507373244299</c:v>
                </c:pt>
                <c:pt idx="199">
                  <c:v>98.189800254311095</c:v>
                </c:pt>
                <c:pt idx="200">
                  <c:v>98.010864242939988</c:v>
                </c:pt>
                <c:pt idx="201">
                  <c:v>97.807293326711473</c:v>
                </c:pt>
                <c:pt idx="202">
                  <c:v>97.807293326711473</c:v>
                </c:pt>
                <c:pt idx="203">
                  <c:v>97.807293326711473</c:v>
                </c:pt>
                <c:pt idx="204">
                  <c:v>97.842634704391401</c:v>
                </c:pt>
                <c:pt idx="205">
                  <c:v>97.939953890286006</c:v>
                </c:pt>
                <c:pt idx="206">
                  <c:v>97.915495834964702</c:v>
                </c:pt>
                <c:pt idx="207">
                  <c:v>97.889157739416675</c:v>
                </c:pt>
                <c:pt idx="208">
                  <c:v>97.878594393921574</c:v>
                </c:pt>
                <c:pt idx="209">
                  <c:v>97.878594393921574</c:v>
                </c:pt>
                <c:pt idx="210">
                  <c:v>97.878594393921574</c:v>
                </c:pt>
                <c:pt idx="211">
                  <c:v>97.92346168705825</c:v>
                </c:pt>
                <c:pt idx="212">
                  <c:v>97.91269937883942</c:v>
                </c:pt>
                <c:pt idx="213">
                  <c:v>97.868480525399335</c:v>
                </c:pt>
                <c:pt idx="214">
                  <c:v>97.868480525399335</c:v>
                </c:pt>
                <c:pt idx="215">
                  <c:v>97.838988248625981</c:v>
                </c:pt>
                <c:pt idx="216">
                  <c:v>97.838988248625981</c:v>
                </c:pt>
                <c:pt idx="217">
                  <c:v>97.838988248625981</c:v>
                </c:pt>
                <c:pt idx="218">
                  <c:v>97.837999813820105</c:v>
                </c:pt>
                <c:pt idx="219">
                  <c:v>97.708437540164397</c:v>
                </c:pt>
                <c:pt idx="220">
                  <c:v>97.715416383610147</c:v>
                </c:pt>
                <c:pt idx="221">
                  <c:v>97.601859492495862</c:v>
                </c:pt>
                <c:pt idx="222">
                  <c:v>97.501866631213858</c:v>
                </c:pt>
                <c:pt idx="223">
                  <c:v>97.501866631213858</c:v>
                </c:pt>
                <c:pt idx="224">
                  <c:v>97.501866631213858</c:v>
                </c:pt>
                <c:pt idx="225">
                  <c:v>97.540113529693002</c:v>
                </c:pt>
                <c:pt idx="226">
                  <c:v>97.91956378312166</c:v>
                </c:pt>
                <c:pt idx="227">
                  <c:v>97.862634749922492</c:v>
                </c:pt>
                <c:pt idx="228">
                  <c:v>98.043502591225035</c:v>
                </c:pt>
                <c:pt idx="229">
                  <c:v>98.043502591225035</c:v>
                </c:pt>
                <c:pt idx="230">
                  <c:v>98.043502591225035</c:v>
                </c:pt>
                <c:pt idx="231">
                  <c:v>98.043502591225035</c:v>
                </c:pt>
                <c:pt idx="232">
                  <c:v>98.32084013061251</c:v>
                </c:pt>
                <c:pt idx="233">
                  <c:v>98.363870616930171</c:v>
                </c:pt>
                <c:pt idx="234">
                  <c:v>98.48297295240998</c:v>
                </c:pt>
                <c:pt idx="235">
                  <c:v>98.507978863928329</c:v>
                </c:pt>
                <c:pt idx="236">
                  <c:v>98.507978863928329</c:v>
                </c:pt>
                <c:pt idx="237">
                  <c:v>98.507978863928329</c:v>
                </c:pt>
                <c:pt idx="238">
                  <c:v>98.507978863928329</c:v>
                </c:pt>
                <c:pt idx="239">
                  <c:v>98.550651999792024</c:v>
                </c:pt>
                <c:pt idx="240">
                  <c:v>98.648720599494723</c:v>
                </c:pt>
                <c:pt idx="241">
                  <c:v>98.61322221678293</c:v>
                </c:pt>
                <c:pt idx="242">
                  <c:v>98.641314124854745</c:v>
                </c:pt>
                <c:pt idx="243">
                  <c:v>98.6112941442194</c:v>
                </c:pt>
                <c:pt idx="244">
                  <c:v>98.6112941442194</c:v>
                </c:pt>
                <c:pt idx="245">
                  <c:v>98.6112941442194</c:v>
                </c:pt>
                <c:pt idx="246">
                  <c:v>98.718533370437072</c:v>
                </c:pt>
                <c:pt idx="247">
                  <c:v>98.725090465779502</c:v>
                </c:pt>
                <c:pt idx="248">
                  <c:v>98.757145274478106</c:v>
                </c:pt>
                <c:pt idx="249">
                  <c:v>98.517313513319408</c:v>
                </c:pt>
                <c:pt idx="250">
                  <c:v>98.511347358785414</c:v>
                </c:pt>
                <c:pt idx="251">
                  <c:v>98.511347358785414</c:v>
                </c:pt>
                <c:pt idx="252">
                  <c:v>98.511347358785414</c:v>
                </c:pt>
                <c:pt idx="253">
                  <c:v>98.511347358785414</c:v>
                </c:pt>
                <c:pt idx="254">
                  <c:v>98.536648384345511</c:v>
                </c:pt>
                <c:pt idx="255">
                  <c:v>98.578931937855344</c:v>
                </c:pt>
                <c:pt idx="256">
                  <c:v>98.812072459172356</c:v>
                </c:pt>
                <c:pt idx="257">
                  <c:v>98.811972060665582</c:v>
                </c:pt>
                <c:pt idx="258">
                  <c:v>98.811972060665582</c:v>
                </c:pt>
                <c:pt idx="259">
                  <c:v>98.811972060665582</c:v>
                </c:pt>
                <c:pt idx="260">
                  <c:v>98.853135489769969</c:v>
                </c:pt>
                <c:pt idx="261">
                  <c:v>98.840339934393953</c:v>
                </c:pt>
                <c:pt idx="262">
                  <c:v>98.937322582153229</c:v>
                </c:pt>
                <c:pt idx="263">
                  <c:v>98.959783710112973</c:v>
                </c:pt>
                <c:pt idx="264">
                  <c:v>99.065046604190925</c:v>
                </c:pt>
                <c:pt idx="265">
                  <c:v>99.065046604190925</c:v>
                </c:pt>
                <c:pt idx="266">
                  <c:v>99.065046604190925</c:v>
                </c:pt>
                <c:pt idx="267">
                  <c:v>99.094764621020275</c:v>
                </c:pt>
                <c:pt idx="268">
                  <c:v>99.048286135903524</c:v>
                </c:pt>
                <c:pt idx="269">
                  <c:v>98.988739968843731</c:v>
                </c:pt>
                <c:pt idx="270">
                  <c:v>98.954915233090077</c:v>
                </c:pt>
                <c:pt idx="271">
                  <c:v>98.879172315879941</c:v>
                </c:pt>
                <c:pt idx="272">
                  <c:v>98.879172315879941</c:v>
                </c:pt>
                <c:pt idx="273">
                  <c:v>98.879172315879941</c:v>
                </c:pt>
                <c:pt idx="274">
                  <c:v>98.752303331057561</c:v>
                </c:pt>
                <c:pt idx="275">
                  <c:v>98.652623091403044</c:v>
                </c:pt>
                <c:pt idx="276">
                  <c:v>98.76713469000758</c:v>
                </c:pt>
                <c:pt idx="277">
                  <c:v>98.651950518376879</c:v>
                </c:pt>
                <c:pt idx="278">
                  <c:v>98.800050025357137</c:v>
                </c:pt>
                <c:pt idx="279">
                  <c:v>98.800050025357137</c:v>
                </c:pt>
                <c:pt idx="280">
                  <c:v>98.800050025357137</c:v>
                </c:pt>
                <c:pt idx="281">
                  <c:v>98.861376125072411</c:v>
                </c:pt>
                <c:pt idx="282">
                  <c:v>98.834457346778521</c:v>
                </c:pt>
                <c:pt idx="283">
                  <c:v>98.854934175841166</c:v>
                </c:pt>
                <c:pt idx="284">
                  <c:v>98.962616231775627</c:v>
                </c:pt>
                <c:pt idx="285">
                  <c:v>98.94547380426755</c:v>
                </c:pt>
                <c:pt idx="286">
                  <c:v>98.94547380426755</c:v>
                </c:pt>
                <c:pt idx="287">
                  <c:v>98.94547380426755</c:v>
                </c:pt>
                <c:pt idx="288">
                  <c:v>99.002599960075813</c:v>
                </c:pt>
                <c:pt idx="289">
                  <c:v>99.105087750350378</c:v>
                </c:pt>
                <c:pt idx="290">
                  <c:v>99.172408672942353</c:v>
                </c:pt>
                <c:pt idx="291">
                  <c:v>99.284901532721918</c:v>
                </c:pt>
                <c:pt idx="292">
                  <c:v>99.296168155987516</c:v>
                </c:pt>
                <c:pt idx="293">
                  <c:v>99.296168155987516</c:v>
                </c:pt>
                <c:pt idx="294">
                  <c:v>99.296168155987516</c:v>
                </c:pt>
                <c:pt idx="295">
                  <c:v>99.324893559860456</c:v>
                </c:pt>
                <c:pt idx="296">
                  <c:v>99.337029679173995</c:v>
                </c:pt>
                <c:pt idx="297">
                  <c:v>99.245570398029471</c:v>
                </c:pt>
                <c:pt idx="298">
                  <c:v>99.248319437240269</c:v>
                </c:pt>
                <c:pt idx="299">
                  <c:v>99.27056105215145</c:v>
                </c:pt>
                <c:pt idx="300">
                  <c:v>99.27056105215145</c:v>
                </c:pt>
                <c:pt idx="301">
                  <c:v>99.27056105215145</c:v>
                </c:pt>
                <c:pt idx="302">
                  <c:v>99.333073575893465</c:v>
                </c:pt>
                <c:pt idx="303">
                  <c:v>99.402413634321888</c:v>
                </c:pt>
                <c:pt idx="304">
                  <c:v>99.38359974288305</c:v>
                </c:pt>
                <c:pt idx="305">
                  <c:v>99.435160504095577</c:v>
                </c:pt>
                <c:pt idx="306">
                  <c:v>99.316502159061457</c:v>
                </c:pt>
                <c:pt idx="307">
                  <c:v>99.316502159061457</c:v>
                </c:pt>
                <c:pt idx="308">
                  <c:v>99.316502159061457</c:v>
                </c:pt>
                <c:pt idx="309">
                  <c:v>99.294924987708754</c:v>
                </c:pt>
                <c:pt idx="310">
                  <c:v>99.491859169127991</c:v>
                </c:pt>
                <c:pt idx="311">
                  <c:v>99.502828312926496</c:v>
                </c:pt>
                <c:pt idx="312">
                  <c:v>99.532167554323905</c:v>
                </c:pt>
                <c:pt idx="313">
                  <c:v>99.6056561232256</c:v>
                </c:pt>
                <c:pt idx="314">
                  <c:v>99.6056561232256</c:v>
                </c:pt>
                <c:pt idx="315">
                  <c:v>99.6056561232256</c:v>
                </c:pt>
                <c:pt idx="316">
                  <c:v>99.766445282495269</c:v>
                </c:pt>
                <c:pt idx="317">
                  <c:v>99.748818441963493</c:v>
                </c:pt>
                <c:pt idx="318">
                  <c:v>99.677502939495056</c:v>
                </c:pt>
                <c:pt idx="319">
                  <c:v>99.620842797329601</c:v>
                </c:pt>
                <c:pt idx="320">
                  <c:v>99.604534745957508</c:v>
                </c:pt>
                <c:pt idx="321">
                  <c:v>99.604534745957508</c:v>
                </c:pt>
                <c:pt idx="322">
                  <c:v>99.604534745957508</c:v>
                </c:pt>
                <c:pt idx="323">
                  <c:v>99.657077648108682</c:v>
                </c:pt>
                <c:pt idx="324">
                  <c:v>99.757578509757963</c:v>
                </c:pt>
                <c:pt idx="325">
                  <c:v>99.843955294542525</c:v>
                </c:pt>
                <c:pt idx="326">
                  <c:v>99.843955294542525</c:v>
                </c:pt>
                <c:pt idx="327">
                  <c:v>99.948963805523334</c:v>
                </c:pt>
                <c:pt idx="328">
                  <c:v>99.948963805523334</c:v>
                </c:pt>
                <c:pt idx="329">
                  <c:v>99.948963805523334</c:v>
                </c:pt>
                <c:pt idx="330">
                  <c:v>100.01527286978879</c:v>
                </c:pt>
                <c:pt idx="331">
                  <c:v>100.00317055663497</c:v>
                </c:pt>
                <c:pt idx="332">
                  <c:v>100.02559230930667</c:v>
                </c:pt>
                <c:pt idx="333">
                  <c:v>100.19151080119661</c:v>
                </c:pt>
                <c:pt idx="334">
                  <c:v>100.26568034246938</c:v>
                </c:pt>
                <c:pt idx="335">
                  <c:v>100.26568034246938</c:v>
                </c:pt>
                <c:pt idx="336">
                  <c:v>100.26568034246938</c:v>
                </c:pt>
                <c:pt idx="337">
                  <c:v>100.17165180984389</c:v>
                </c:pt>
                <c:pt idx="338">
                  <c:v>100.21797987145153</c:v>
                </c:pt>
                <c:pt idx="339">
                  <c:v>100.34101041747847</c:v>
                </c:pt>
                <c:pt idx="340">
                  <c:v>100.35725096144029</c:v>
                </c:pt>
                <c:pt idx="341">
                  <c:v>100.38535217920916</c:v>
                </c:pt>
                <c:pt idx="342">
                  <c:v>100.38535217920916</c:v>
                </c:pt>
                <c:pt idx="343">
                  <c:v>100.38535217920916</c:v>
                </c:pt>
                <c:pt idx="344">
                  <c:v>100.38999733731131</c:v>
                </c:pt>
                <c:pt idx="345">
                  <c:v>100.33875472876112</c:v>
                </c:pt>
                <c:pt idx="346">
                  <c:v>100.43612604918691</c:v>
                </c:pt>
                <c:pt idx="347">
                  <c:v>100.47309560277152</c:v>
                </c:pt>
                <c:pt idx="348">
                  <c:v>100.47309560277152</c:v>
                </c:pt>
                <c:pt idx="349">
                  <c:v>100.47309560277152</c:v>
                </c:pt>
                <c:pt idx="350">
                  <c:v>100.46178912438158</c:v>
                </c:pt>
                <c:pt idx="351">
                  <c:v>100.42231073293718</c:v>
                </c:pt>
                <c:pt idx="352">
                  <c:v>100.38832466623656</c:v>
                </c:pt>
                <c:pt idx="353">
                  <c:v>100.16894612100859</c:v>
                </c:pt>
                <c:pt idx="354">
                  <c:v>99.91050621453924</c:v>
                </c:pt>
                <c:pt idx="355">
                  <c:v>99.91050621453924</c:v>
                </c:pt>
                <c:pt idx="356">
                  <c:v>99.91050621453924</c:v>
                </c:pt>
                <c:pt idx="357">
                  <c:v>100.04697504567389</c:v>
                </c:pt>
                <c:pt idx="358">
                  <c:v>100.04697504567389</c:v>
                </c:pt>
                <c:pt idx="359">
                  <c:v>100.18395207543175</c:v>
                </c:pt>
                <c:pt idx="360">
                  <c:v>100.35800299039983</c:v>
                </c:pt>
                <c:pt idx="361">
                  <c:v>100.42498143223905</c:v>
                </c:pt>
                <c:pt idx="362">
                  <c:v>100.42498143223905</c:v>
                </c:pt>
                <c:pt idx="363">
                  <c:v>100.42498143223905</c:v>
                </c:pt>
                <c:pt idx="364">
                  <c:v>100.4404675480841</c:v>
                </c:pt>
                <c:pt idx="365">
                  <c:v>100.4404675480841</c:v>
                </c:pt>
                <c:pt idx="36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CB-44DA-93F1-D3B2E3BE4E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0022544"/>
        <c:axId val="839646960"/>
      </c:areaChart>
      <c:lineChart>
        <c:grouping val="standard"/>
        <c:varyColors val="0"/>
        <c:ser>
          <c:idx val="2"/>
          <c:order val="2"/>
          <c:tx>
            <c:v>Benchmark</c:v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eplus_yld_12m!$A$2:$A$500</c:f>
              <c:numCache>
                <c:formatCode>m/d/yyyy</c:formatCode>
                <c:ptCount val="499"/>
                <c:pt idx="0">
                  <c:v>42861</c:v>
                </c:pt>
                <c:pt idx="1">
                  <c:v>42862</c:v>
                </c:pt>
                <c:pt idx="2">
                  <c:v>42863</c:v>
                </c:pt>
                <c:pt idx="3">
                  <c:v>42864</c:v>
                </c:pt>
                <c:pt idx="4">
                  <c:v>42865</c:v>
                </c:pt>
                <c:pt idx="5">
                  <c:v>42866</c:v>
                </c:pt>
                <c:pt idx="6">
                  <c:v>42867</c:v>
                </c:pt>
                <c:pt idx="7">
                  <c:v>42868</c:v>
                </c:pt>
                <c:pt idx="8">
                  <c:v>42869</c:v>
                </c:pt>
                <c:pt idx="9">
                  <c:v>42870</c:v>
                </c:pt>
                <c:pt idx="10">
                  <c:v>42871</c:v>
                </c:pt>
                <c:pt idx="11">
                  <c:v>42872</c:v>
                </c:pt>
                <c:pt idx="12">
                  <c:v>42873</c:v>
                </c:pt>
                <c:pt idx="13">
                  <c:v>42874</c:v>
                </c:pt>
                <c:pt idx="14">
                  <c:v>42875</c:v>
                </c:pt>
                <c:pt idx="15">
                  <c:v>42876</c:v>
                </c:pt>
                <c:pt idx="16">
                  <c:v>42877</c:v>
                </c:pt>
                <c:pt idx="17">
                  <c:v>42878</c:v>
                </c:pt>
                <c:pt idx="18">
                  <c:v>42879</c:v>
                </c:pt>
                <c:pt idx="19">
                  <c:v>42880</c:v>
                </c:pt>
                <c:pt idx="20">
                  <c:v>42881</c:v>
                </c:pt>
                <c:pt idx="21">
                  <c:v>42882</c:v>
                </c:pt>
                <c:pt idx="22">
                  <c:v>42883</c:v>
                </c:pt>
                <c:pt idx="23">
                  <c:v>42884</c:v>
                </c:pt>
                <c:pt idx="24">
                  <c:v>42885</c:v>
                </c:pt>
                <c:pt idx="25">
                  <c:v>42886</c:v>
                </c:pt>
                <c:pt idx="26">
                  <c:v>42887</c:v>
                </c:pt>
                <c:pt idx="27">
                  <c:v>42888</c:v>
                </c:pt>
                <c:pt idx="28">
                  <c:v>42889</c:v>
                </c:pt>
                <c:pt idx="29">
                  <c:v>42890</c:v>
                </c:pt>
                <c:pt idx="30">
                  <c:v>42891</c:v>
                </c:pt>
                <c:pt idx="31">
                  <c:v>42892</c:v>
                </c:pt>
                <c:pt idx="32">
                  <c:v>42893</c:v>
                </c:pt>
                <c:pt idx="33">
                  <c:v>42894</c:v>
                </c:pt>
                <c:pt idx="34">
                  <c:v>42895</c:v>
                </c:pt>
                <c:pt idx="35">
                  <c:v>42896</c:v>
                </c:pt>
                <c:pt idx="36">
                  <c:v>42897</c:v>
                </c:pt>
                <c:pt idx="37">
                  <c:v>42898</c:v>
                </c:pt>
                <c:pt idx="38">
                  <c:v>42899</c:v>
                </c:pt>
                <c:pt idx="39">
                  <c:v>42900</c:v>
                </c:pt>
                <c:pt idx="40">
                  <c:v>42901</c:v>
                </c:pt>
                <c:pt idx="41">
                  <c:v>42902</c:v>
                </c:pt>
                <c:pt idx="42">
                  <c:v>42903</c:v>
                </c:pt>
                <c:pt idx="43">
                  <c:v>42904</c:v>
                </c:pt>
                <c:pt idx="44">
                  <c:v>42905</c:v>
                </c:pt>
                <c:pt idx="45">
                  <c:v>42906</c:v>
                </c:pt>
                <c:pt idx="46">
                  <c:v>42907</c:v>
                </c:pt>
                <c:pt idx="47">
                  <c:v>42908</c:v>
                </c:pt>
                <c:pt idx="48">
                  <c:v>42909</c:v>
                </c:pt>
                <c:pt idx="49">
                  <c:v>42910</c:v>
                </c:pt>
                <c:pt idx="50">
                  <c:v>42911</c:v>
                </c:pt>
                <c:pt idx="51">
                  <c:v>42912</c:v>
                </c:pt>
                <c:pt idx="52">
                  <c:v>42913</c:v>
                </c:pt>
                <c:pt idx="53">
                  <c:v>42914</c:v>
                </c:pt>
                <c:pt idx="54">
                  <c:v>42915</c:v>
                </c:pt>
                <c:pt idx="55">
                  <c:v>42916</c:v>
                </c:pt>
                <c:pt idx="56">
                  <c:v>42917</c:v>
                </c:pt>
                <c:pt idx="57">
                  <c:v>42918</c:v>
                </c:pt>
                <c:pt idx="58">
                  <c:v>42919</c:v>
                </c:pt>
                <c:pt idx="59">
                  <c:v>42920</c:v>
                </c:pt>
                <c:pt idx="60">
                  <c:v>42921</c:v>
                </c:pt>
                <c:pt idx="61">
                  <c:v>42922</c:v>
                </c:pt>
                <c:pt idx="62">
                  <c:v>42923</c:v>
                </c:pt>
                <c:pt idx="63">
                  <c:v>42924</c:v>
                </c:pt>
                <c:pt idx="64">
                  <c:v>42925</c:v>
                </c:pt>
                <c:pt idx="65">
                  <c:v>42926</c:v>
                </c:pt>
                <c:pt idx="66">
                  <c:v>42927</c:v>
                </c:pt>
                <c:pt idx="67">
                  <c:v>42928</c:v>
                </c:pt>
                <c:pt idx="68">
                  <c:v>42929</c:v>
                </c:pt>
                <c:pt idx="69">
                  <c:v>42930</c:v>
                </c:pt>
                <c:pt idx="70">
                  <c:v>42931</c:v>
                </c:pt>
                <c:pt idx="71">
                  <c:v>42932</c:v>
                </c:pt>
                <c:pt idx="72">
                  <c:v>42933</c:v>
                </c:pt>
                <c:pt idx="73">
                  <c:v>42934</c:v>
                </c:pt>
                <c:pt idx="74">
                  <c:v>42935</c:v>
                </c:pt>
                <c:pt idx="75">
                  <c:v>42936</c:v>
                </c:pt>
                <c:pt idx="76">
                  <c:v>42937</c:v>
                </c:pt>
                <c:pt idx="77">
                  <c:v>42938</c:v>
                </c:pt>
                <c:pt idx="78">
                  <c:v>42939</c:v>
                </c:pt>
                <c:pt idx="79">
                  <c:v>42940</c:v>
                </c:pt>
                <c:pt idx="80">
                  <c:v>42941</c:v>
                </c:pt>
                <c:pt idx="81">
                  <c:v>42942</c:v>
                </c:pt>
                <c:pt idx="82">
                  <c:v>42943</c:v>
                </c:pt>
                <c:pt idx="83">
                  <c:v>42944</c:v>
                </c:pt>
                <c:pt idx="84">
                  <c:v>42945</c:v>
                </c:pt>
                <c:pt idx="85">
                  <c:v>42946</c:v>
                </c:pt>
                <c:pt idx="86">
                  <c:v>42947</c:v>
                </c:pt>
                <c:pt idx="87">
                  <c:v>42948</c:v>
                </c:pt>
                <c:pt idx="88">
                  <c:v>42949</c:v>
                </c:pt>
                <c:pt idx="89">
                  <c:v>42950</c:v>
                </c:pt>
                <c:pt idx="90">
                  <c:v>42951</c:v>
                </c:pt>
                <c:pt idx="91">
                  <c:v>42952</c:v>
                </c:pt>
                <c:pt idx="92">
                  <c:v>42953</c:v>
                </c:pt>
                <c:pt idx="93">
                  <c:v>42954</c:v>
                </c:pt>
                <c:pt idx="94">
                  <c:v>42955</c:v>
                </c:pt>
                <c:pt idx="95">
                  <c:v>42956</c:v>
                </c:pt>
                <c:pt idx="96">
                  <c:v>42957</c:v>
                </c:pt>
                <c:pt idx="97">
                  <c:v>42958</c:v>
                </c:pt>
                <c:pt idx="98">
                  <c:v>42959</c:v>
                </c:pt>
                <c:pt idx="99">
                  <c:v>42960</c:v>
                </c:pt>
                <c:pt idx="100">
                  <c:v>42961</c:v>
                </c:pt>
                <c:pt idx="101">
                  <c:v>42962</c:v>
                </c:pt>
                <c:pt idx="102">
                  <c:v>42963</c:v>
                </c:pt>
                <c:pt idx="103">
                  <c:v>42964</c:v>
                </c:pt>
                <c:pt idx="104">
                  <c:v>42965</c:v>
                </c:pt>
                <c:pt idx="105">
                  <c:v>42966</c:v>
                </c:pt>
                <c:pt idx="106">
                  <c:v>42967</c:v>
                </c:pt>
                <c:pt idx="107">
                  <c:v>42968</c:v>
                </c:pt>
                <c:pt idx="108">
                  <c:v>42969</c:v>
                </c:pt>
                <c:pt idx="109">
                  <c:v>42970</c:v>
                </c:pt>
                <c:pt idx="110">
                  <c:v>42971</c:v>
                </c:pt>
                <c:pt idx="111">
                  <c:v>42972</c:v>
                </c:pt>
                <c:pt idx="112">
                  <c:v>42973</c:v>
                </c:pt>
                <c:pt idx="113">
                  <c:v>42974</c:v>
                </c:pt>
                <c:pt idx="114">
                  <c:v>42975</c:v>
                </c:pt>
                <c:pt idx="115">
                  <c:v>42976</c:v>
                </c:pt>
                <c:pt idx="116">
                  <c:v>42977</c:v>
                </c:pt>
                <c:pt idx="117">
                  <c:v>42978</c:v>
                </c:pt>
                <c:pt idx="118">
                  <c:v>42979</c:v>
                </c:pt>
                <c:pt idx="119">
                  <c:v>42980</c:v>
                </c:pt>
                <c:pt idx="120">
                  <c:v>42981</c:v>
                </c:pt>
                <c:pt idx="121">
                  <c:v>42982</c:v>
                </c:pt>
                <c:pt idx="122">
                  <c:v>42983</c:v>
                </c:pt>
                <c:pt idx="123">
                  <c:v>42984</c:v>
                </c:pt>
                <c:pt idx="124">
                  <c:v>42985</c:v>
                </c:pt>
                <c:pt idx="125">
                  <c:v>42986</c:v>
                </c:pt>
                <c:pt idx="126">
                  <c:v>42987</c:v>
                </c:pt>
                <c:pt idx="127">
                  <c:v>42988</c:v>
                </c:pt>
                <c:pt idx="128">
                  <c:v>42989</c:v>
                </c:pt>
                <c:pt idx="129">
                  <c:v>42990</c:v>
                </c:pt>
                <c:pt idx="130">
                  <c:v>42991</c:v>
                </c:pt>
                <c:pt idx="131">
                  <c:v>42992</c:v>
                </c:pt>
                <c:pt idx="132">
                  <c:v>42993</c:v>
                </c:pt>
                <c:pt idx="133">
                  <c:v>42994</c:v>
                </c:pt>
                <c:pt idx="134">
                  <c:v>42995</c:v>
                </c:pt>
                <c:pt idx="135">
                  <c:v>42996</c:v>
                </c:pt>
                <c:pt idx="136">
                  <c:v>42997</c:v>
                </c:pt>
                <c:pt idx="137">
                  <c:v>42998</c:v>
                </c:pt>
                <c:pt idx="138">
                  <c:v>42999</c:v>
                </c:pt>
                <c:pt idx="139">
                  <c:v>43000</c:v>
                </c:pt>
                <c:pt idx="140">
                  <c:v>43001</c:v>
                </c:pt>
                <c:pt idx="141">
                  <c:v>43002</c:v>
                </c:pt>
                <c:pt idx="142">
                  <c:v>43003</c:v>
                </c:pt>
                <c:pt idx="143">
                  <c:v>43004</c:v>
                </c:pt>
                <c:pt idx="144">
                  <c:v>43005</c:v>
                </c:pt>
                <c:pt idx="145">
                  <c:v>43006</c:v>
                </c:pt>
                <c:pt idx="146">
                  <c:v>43007</c:v>
                </c:pt>
                <c:pt idx="147">
                  <c:v>43008</c:v>
                </c:pt>
                <c:pt idx="148">
                  <c:v>43009</c:v>
                </c:pt>
                <c:pt idx="149">
                  <c:v>43010</c:v>
                </c:pt>
                <c:pt idx="150">
                  <c:v>43011</c:v>
                </c:pt>
                <c:pt idx="151">
                  <c:v>43012</c:v>
                </c:pt>
                <c:pt idx="152">
                  <c:v>43013</c:v>
                </c:pt>
                <c:pt idx="153">
                  <c:v>43014</c:v>
                </c:pt>
                <c:pt idx="154">
                  <c:v>43015</c:v>
                </c:pt>
                <c:pt idx="155">
                  <c:v>43016</c:v>
                </c:pt>
                <c:pt idx="156">
                  <c:v>43017</c:v>
                </c:pt>
                <c:pt idx="157">
                  <c:v>43018</c:v>
                </c:pt>
                <c:pt idx="158">
                  <c:v>43019</c:v>
                </c:pt>
                <c:pt idx="159">
                  <c:v>43020</c:v>
                </c:pt>
                <c:pt idx="160">
                  <c:v>43021</c:v>
                </c:pt>
                <c:pt idx="161">
                  <c:v>43022</c:v>
                </c:pt>
                <c:pt idx="162">
                  <c:v>43023</c:v>
                </c:pt>
                <c:pt idx="163">
                  <c:v>43024</c:v>
                </c:pt>
                <c:pt idx="164">
                  <c:v>43025</c:v>
                </c:pt>
                <c:pt idx="165">
                  <c:v>43026</c:v>
                </c:pt>
                <c:pt idx="166">
                  <c:v>43027</c:v>
                </c:pt>
                <c:pt idx="167">
                  <c:v>43028</c:v>
                </c:pt>
                <c:pt idx="168">
                  <c:v>43029</c:v>
                </c:pt>
                <c:pt idx="169">
                  <c:v>43030</c:v>
                </c:pt>
                <c:pt idx="170">
                  <c:v>43031</c:v>
                </c:pt>
                <c:pt idx="171">
                  <c:v>43032</c:v>
                </c:pt>
                <c:pt idx="172">
                  <c:v>43033</c:v>
                </c:pt>
                <c:pt idx="173">
                  <c:v>43034</c:v>
                </c:pt>
                <c:pt idx="174">
                  <c:v>43035</c:v>
                </c:pt>
                <c:pt idx="175">
                  <c:v>43036</c:v>
                </c:pt>
                <c:pt idx="176">
                  <c:v>43037</c:v>
                </c:pt>
                <c:pt idx="177">
                  <c:v>43038</c:v>
                </c:pt>
                <c:pt idx="178">
                  <c:v>43039</c:v>
                </c:pt>
                <c:pt idx="179">
                  <c:v>43040</c:v>
                </c:pt>
                <c:pt idx="180">
                  <c:v>43041</c:v>
                </c:pt>
                <c:pt idx="181">
                  <c:v>43042</c:v>
                </c:pt>
                <c:pt idx="182">
                  <c:v>43043</c:v>
                </c:pt>
                <c:pt idx="183">
                  <c:v>43044</c:v>
                </c:pt>
                <c:pt idx="184">
                  <c:v>43045</c:v>
                </c:pt>
                <c:pt idx="185">
                  <c:v>43046</c:v>
                </c:pt>
                <c:pt idx="186">
                  <c:v>43047</c:v>
                </c:pt>
                <c:pt idx="187">
                  <c:v>43048</c:v>
                </c:pt>
                <c:pt idx="188">
                  <c:v>43049</c:v>
                </c:pt>
                <c:pt idx="189">
                  <c:v>43050</c:v>
                </c:pt>
                <c:pt idx="190">
                  <c:v>43051</c:v>
                </c:pt>
                <c:pt idx="191">
                  <c:v>43052</c:v>
                </c:pt>
                <c:pt idx="192">
                  <c:v>43053</c:v>
                </c:pt>
                <c:pt idx="193">
                  <c:v>43054</c:v>
                </c:pt>
                <c:pt idx="194">
                  <c:v>43055</c:v>
                </c:pt>
                <c:pt idx="195">
                  <c:v>43056</c:v>
                </c:pt>
                <c:pt idx="196">
                  <c:v>43057</c:v>
                </c:pt>
                <c:pt idx="197">
                  <c:v>43058</c:v>
                </c:pt>
                <c:pt idx="198">
                  <c:v>43059</c:v>
                </c:pt>
                <c:pt idx="199">
                  <c:v>43060</c:v>
                </c:pt>
                <c:pt idx="200">
                  <c:v>43061</c:v>
                </c:pt>
                <c:pt idx="201">
                  <c:v>43062</c:v>
                </c:pt>
                <c:pt idx="202">
                  <c:v>43063</c:v>
                </c:pt>
                <c:pt idx="203">
                  <c:v>43064</c:v>
                </c:pt>
                <c:pt idx="204">
                  <c:v>43065</c:v>
                </c:pt>
                <c:pt idx="205">
                  <c:v>43066</c:v>
                </c:pt>
                <c:pt idx="206">
                  <c:v>43067</c:v>
                </c:pt>
                <c:pt idx="207">
                  <c:v>43068</c:v>
                </c:pt>
                <c:pt idx="208">
                  <c:v>43069</c:v>
                </c:pt>
                <c:pt idx="209">
                  <c:v>43070</c:v>
                </c:pt>
                <c:pt idx="210">
                  <c:v>43071</c:v>
                </c:pt>
                <c:pt idx="211">
                  <c:v>43072</c:v>
                </c:pt>
                <c:pt idx="212">
                  <c:v>43073</c:v>
                </c:pt>
                <c:pt idx="213">
                  <c:v>43074</c:v>
                </c:pt>
                <c:pt idx="214">
                  <c:v>43075</c:v>
                </c:pt>
                <c:pt idx="215">
                  <c:v>43076</c:v>
                </c:pt>
                <c:pt idx="216">
                  <c:v>43077</c:v>
                </c:pt>
                <c:pt idx="217">
                  <c:v>43078</c:v>
                </c:pt>
                <c:pt idx="218">
                  <c:v>43079</c:v>
                </c:pt>
                <c:pt idx="219">
                  <c:v>43080</c:v>
                </c:pt>
                <c:pt idx="220">
                  <c:v>43081</c:v>
                </c:pt>
                <c:pt idx="221">
                  <c:v>43082</c:v>
                </c:pt>
                <c:pt idx="222">
                  <c:v>43083</c:v>
                </c:pt>
                <c:pt idx="223">
                  <c:v>43084</c:v>
                </c:pt>
                <c:pt idx="224">
                  <c:v>43085</c:v>
                </c:pt>
                <c:pt idx="225">
                  <c:v>43086</c:v>
                </c:pt>
                <c:pt idx="226">
                  <c:v>43087</c:v>
                </c:pt>
                <c:pt idx="227">
                  <c:v>43088</c:v>
                </c:pt>
                <c:pt idx="228">
                  <c:v>43089</c:v>
                </c:pt>
                <c:pt idx="229">
                  <c:v>43090</c:v>
                </c:pt>
                <c:pt idx="230">
                  <c:v>43091</c:v>
                </c:pt>
                <c:pt idx="231">
                  <c:v>43092</c:v>
                </c:pt>
                <c:pt idx="232">
                  <c:v>43093</c:v>
                </c:pt>
                <c:pt idx="233">
                  <c:v>43094</c:v>
                </c:pt>
                <c:pt idx="234">
                  <c:v>43095</c:v>
                </c:pt>
                <c:pt idx="235">
                  <c:v>43096</c:v>
                </c:pt>
                <c:pt idx="236">
                  <c:v>43097</c:v>
                </c:pt>
                <c:pt idx="237">
                  <c:v>43098</c:v>
                </c:pt>
                <c:pt idx="238">
                  <c:v>43099</c:v>
                </c:pt>
                <c:pt idx="239">
                  <c:v>43100</c:v>
                </c:pt>
                <c:pt idx="240">
                  <c:v>43101</c:v>
                </c:pt>
                <c:pt idx="241">
                  <c:v>43102</c:v>
                </c:pt>
                <c:pt idx="242">
                  <c:v>43103</c:v>
                </c:pt>
                <c:pt idx="243">
                  <c:v>43104</c:v>
                </c:pt>
                <c:pt idx="244">
                  <c:v>43105</c:v>
                </c:pt>
                <c:pt idx="245">
                  <c:v>43106</c:v>
                </c:pt>
                <c:pt idx="246">
                  <c:v>43107</c:v>
                </c:pt>
                <c:pt idx="247">
                  <c:v>43108</c:v>
                </c:pt>
                <c:pt idx="248">
                  <c:v>43109</c:v>
                </c:pt>
                <c:pt idx="249">
                  <c:v>43110</c:v>
                </c:pt>
                <c:pt idx="250">
                  <c:v>43111</c:v>
                </c:pt>
                <c:pt idx="251">
                  <c:v>43112</c:v>
                </c:pt>
                <c:pt idx="252">
                  <c:v>43113</c:v>
                </c:pt>
                <c:pt idx="253">
                  <c:v>43114</c:v>
                </c:pt>
                <c:pt idx="254">
                  <c:v>43115</c:v>
                </c:pt>
                <c:pt idx="255">
                  <c:v>43116</c:v>
                </c:pt>
                <c:pt idx="256">
                  <c:v>43117</c:v>
                </c:pt>
                <c:pt idx="257">
                  <c:v>43118</c:v>
                </c:pt>
                <c:pt idx="258">
                  <c:v>43119</c:v>
                </c:pt>
                <c:pt idx="259">
                  <c:v>43120</c:v>
                </c:pt>
                <c:pt idx="260">
                  <c:v>43121</c:v>
                </c:pt>
                <c:pt idx="261">
                  <c:v>43122</c:v>
                </c:pt>
                <c:pt idx="262">
                  <c:v>43123</c:v>
                </c:pt>
                <c:pt idx="263">
                  <c:v>43124</c:v>
                </c:pt>
                <c:pt idx="264">
                  <c:v>43125</c:v>
                </c:pt>
                <c:pt idx="265">
                  <c:v>43126</c:v>
                </c:pt>
                <c:pt idx="266">
                  <c:v>43127</c:v>
                </c:pt>
                <c:pt idx="267">
                  <c:v>43128</c:v>
                </c:pt>
                <c:pt idx="268">
                  <c:v>43129</c:v>
                </c:pt>
                <c:pt idx="269">
                  <c:v>43130</c:v>
                </c:pt>
                <c:pt idx="270">
                  <c:v>43131</c:v>
                </c:pt>
                <c:pt idx="271">
                  <c:v>43132</c:v>
                </c:pt>
                <c:pt idx="272">
                  <c:v>43133</c:v>
                </c:pt>
                <c:pt idx="273">
                  <c:v>43134</c:v>
                </c:pt>
                <c:pt idx="274">
                  <c:v>43135</c:v>
                </c:pt>
                <c:pt idx="275">
                  <c:v>43136</c:v>
                </c:pt>
                <c:pt idx="276">
                  <c:v>43137</c:v>
                </c:pt>
                <c:pt idx="277">
                  <c:v>43138</c:v>
                </c:pt>
                <c:pt idx="278">
                  <c:v>43139</c:v>
                </c:pt>
                <c:pt idx="279">
                  <c:v>43140</c:v>
                </c:pt>
                <c:pt idx="280">
                  <c:v>43141</c:v>
                </c:pt>
                <c:pt idx="281">
                  <c:v>43142</c:v>
                </c:pt>
                <c:pt idx="282">
                  <c:v>43143</c:v>
                </c:pt>
                <c:pt idx="283">
                  <c:v>43144</c:v>
                </c:pt>
                <c:pt idx="284">
                  <c:v>43145</c:v>
                </c:pt>
                <c:pt idx="285">
                  <c:v>43146</c:v>
                </c:pt>
                <c:pt idx="286">
                  <c:v>43147</c:v>
                </c:pt>
                <c:pt idx="287">
                  <c:v>43148</c:v>
                </c:pt>
                <c:pt idx="288">
                  <c:v>43149</c:v>
                </c:pt>
                <c:pt idx="289">
                  <c:v>43150</c:v>
                </c:pt>
                <c:pt idx="290">
                  <c:v>43151</c:v>
                </c:pt>
                <c:pt idx="291">
                  <c:v>43152</c:v>
                </c:pt>
                <c:pt idx="292">
                  <c:v>43153</c:v>
                </c:pt>
                <c:pt idx="293">
                  <c:v>43154</c:v>
                </c:pt>
                <c:pt idx="294">
                  <c:v>43155</c:v>
                </c:pt>
                <c:pt idx="295">
                  <c:v>43156</c:v>
                </c:pt>
                <c:pt idx="296">
                  <c:v>43157</c:v>
                </c:pt>
                <c:pt idx="297">
                  <c:v>43158</c:v>
                </c:pt>
                <c:pt idx="298">
                  <c:v>43159</c:v>
                </c:pt>
                <c:pt idx="299">
                  <c:v>43160</c:v>
                </c:pt>
                <c:pt idx="300">
                  <c:v>43161</c:v>
                </c:pt>
                <c:pt idx="301">
                  <c:v>43162</c:v>
                </c:pt>
                <c:pt idx="302">
                  <c:v>43163</c:v>
                </c:pt>
                <c:pt idx="303">
                  <c:v>43164</c:v>
                </c:pt>
                <c:pt idx="304">
                  <c:v>43165</c:v>
                </c:pt>
                <c:pt idx="305">
                  <c:v>43166</c:v>
                </c:pt>
                <c:pt idx="306">
                  <c:v>43167</c:v>
                </c:pt>
                <c:pt idx="307">
                  <c:v>43168</c:v>
                </c:pt>
                <c:pt idx="308">
                  <c:v>43169</c:v>
                </c:pt>
                <c:pt idx="309">
                  <c:v>43170</c:v>
                </c:pt>
                <c:pt idx="310">
                  <c:v>43171</c:v>
                </c:pt>
                <c:pt idx="311">
                  <c:v>43172</c:v>
                </c:pt>
                <c:pt idx="312">
                  <c:v>43173</c:v>
                </c:pt>
                <c:pt idx="313">
                  <c:v>43174</c:v>
                </c:pt>
                <c:pt idx="314">
                  <c:v>43175</c:v>
                </c:pt>
                <c:pt idx="315">
                  <c:v>43176</c:v>
                </c:pt>
                <c:pt idx="316">
                  <c:v>43177</c:v>
                </c:pt>
                <c:pt idx="317">
                  <c:v>43178</c:v>
                </c:pt>
                <c:pt idx="318">
                  <c:v>43179</c:v>
                </c:pt>
                <c:pt idx="319">
                  <c:v>43180</c:v>
                </c:pt>
                <c:pt idx="320">
                  <c:v>43181</c:v>
                </c:pt>
                <c:pt idx="321">
                  <c:v>43182</c:v>
                </c:pt>
                <c:pt idx="322">
                  <c:v>43183</c:v>
                </c:pt>
                <c:pt idx="323">
                  <c:v>43184</c:v>
                </c:pt>
                <c:pt idx="324">
                  <c:v>43185</c:v>
                </c:pt>
                <c:pt idx="325">
                  <c:v>43186</c:v>
                </c:pt>
                <c:pt idx="326">
                  <c:v>43187</c:v>
                </c:pt>
                <c:pt idx="327">
                  <c:v>43188</c:v>
                </c:pt>
                <c:pt idx="328">
                  <c:v>43189</c:v>
                </c:pt>
                <c:pt idx="329">
                  <c:v>43190</c:v>
                </c:pt>
                <c:pt idx="330">
                  <c:v>43191</c:v>
                </c:pt>
                <c:pt idx="331">
                  <c:v>43192</c:v>
                </c:pt>
                <c:pt idx="332">
                  <c:v>43193</c:v>
                </c:pt>
                <c:pt idx="333">
                  <c:v>43194</c:v>
                </c:pt>
                <c:pt idx="334">
                  <c:v>43195</c:v>
                </c:pt>
                <c:pt idx="335">
                  <c:v>43196</c:v>
                </c:pt>
                <c:pt idx="336">
                  <c:v>43197</c:v>
                </c:pt>
                <c:pt idx="337">
                  <c:v>43198</c:v>
                </c:pt>
                <c:pt idx="338">
                  <c:v>43199</c:v>
                </c:pt>
                <c:pt idx="339">
                  <c:v>43200</c:v>
                </c:pt>
                <c:pt idx="340">
                  <c:v>43201</c:v>
                </c:pt>
                <c:pt idx="341">
                  <c:v>43202</c:v>
                </c:pt>
                <c:pt idx="342">
                  <c:v>43203</c:v>
                </c:pt>
                <c:pt idx="343">
                  <c:v>43204</c:v>
                </c:pt>
                <c:pt idx="344">
                  <c:v>43205</c:v>
                </c:pt>
                <c:pt idx="345">
                  <c:v>43206</c:v>
                </c:pt>
                <c:pt idx="346">
                  <c:v>43207</c:v>
                </c:pt>
                <c:pt idx="347">
                  <c:v>43208</c:v>
                </c:pt>
                <c:pt idx="348">
                  <c:v>43209</c:v>
                </c:pt>
                <c:pt idx="349">
                  <c:v>43210</c:v>
                </c:pt>
                <c:pt idx="350">
                  <c:v>43211</c:v>
                </c:pt>
                <c:pt idx="351">
                  <c:v>43212</c:v>
                </c:pt>
                <c:pt idx="352">
                  <c:v>43213</c:v>
                </c:pt>
                <c:pt idx="353">
                  <c:v>43214</c:v>
                </c:pt>
                <c:pt idx="354">
                  <c:v>43215</c:v>
                </c:pt>
                <c:pt idx="355">
                  <c:v>43216</c:v>
                </c:pt>
                <c:pt idx="356">
                  <c:v>43217</c:v>
                </c:pt>
                <c:pt idx="357">
                  <c:v>43218</c:v>
                </c:pt>
                <c:pt idx="358">
                  <c:v>43219</c:v>
                </c:pt>
                <c:pt idx="359">
                  <c:v>43220</c:v>
                </c:pt>
                <c:pt idx="360">
                  <c:v>43221</c:v>
                </c:pt>
                <c:pt idx="361">
                  <c:v>43222</c:v>
                </c:pt>
                <c:pt idx="362">
                  <c:v>43223</c:v>
                </c:pt>
                <c:pt idx="363">
                  <c:v>43224</c:v>
                </c:pt>
                <c:pt idx="364">
                  <c:v>43225</c:v>
                </c:pt>
                <c:pt idx="365">
                  <c:v>43226</c:v>
                </c:pt>
                <c:pt idx="366">
                  <c:v>42860</c:v>
                </c:pt>
              </c:numCache>
            </c:numRef>
          </c:cat>
          <c:val>
            <c:numRef>
              <c:f>eplus_yld_12m!$D$2:$D$500</c:f>
              <c:numCache>
                <c:formatCode>General</c:formatCode>
                <c:ptCount val="499"/>
                <c:pt idx="0">
                  <c:v>100</c:v>
                </c:pt>
                <c:pt idx="1">
                  <c:v>100.03886090281181</c:v>
                </c:pt>
                <c:pt idx="2">
                  <c:v>99.870339212124293</c:v>
                </c:pt>
                <c:pt idx="3">
                  <c:v>99.631380199920315</c:v>
                </c:pt>
                <c:pt idx="4">
                  <c:v>99.642797533879559</c:v>
                </c:pt>
                <c:pt idx="5">
                  <c:v>99.435284733230176</c:v>
                </c:pt>
                <c:pt idx="6">
                  <c:v>99.435284733230176</c:v>
                </c:pt>
                <c:pt idx="7">
                  <c:v>99.435284733230176</c:v>
                </c:pt>
                <c:pt idx="8">
                  <c:v>99.49627901457238</c:v>
                </c:pt>
                <c:pt idx="9">
                  <c:v>99.705924147244403</c:v>
                </c:pt>
                <c:pt idx="10">
                  <c:v>99.790588773301735</c:v>
                </c:pt>
                <c:pt idx="11">
                  <c:v>100.0081109680779</c:v>
                </c:pt>
                <c:pt idx="12">
                  <c:v>100.1212108715664</c:v>
                </c:pt>
                <c:pt idx="13">
                  <c:v>100.1212108715664</c:v>
                </c:pt>
                <c:pt idx="14">
                  <c:v>100.1212108715664</c:v>
                </c:pt>
                <c:pt idx="15">
                  <c:v>100.02005800711423</c:v>
                </c:pt>
                <c:pt idx="16">
                  <c:v>99.964492798805168</c:v>
                </c:pt>
                <c:pt idx="17">
                  <c:v>99.946615254136077</c:v>
                </c:pt>
                <c:pt idx="18">
                  <c:v>100.01981587483967</c:v>
                </c:pt>
                <c:pt idx="19">
                  <c:v>99.840702876990576</c:v>
                </c:pt>
                <c:pt idx="20">
                  <c:v>99.840702876990576</c:v>
                </c:pt>
                <c:pt idx="21">
                  <c:v>99.840702876990576</c:v>
                </c:pt>
                <c:pt idx="22">
                  <c:v>99.70381030996289</c:v>
                </c:pt>
                <c:pt idx="23">
                  <c:v>99.71992614864979</c:v>
                </c:pt>
                <c:pt idx="24">
                  <c:v>99.926632613689875</c:v>
                </c:pt>
                <c:pt idx="25">
                  <c:v>100.11916456440527</c:v>
                </c:pt>
                <c:pt idx="26">
                  <c:v>100.17717296914741</c:v>
                </c:pt>
                <c:pt idx="27">
                  <c:v>100.17717296914741</c:v>
                </c:pt>
                <c:pt idx="28">
                  <c:v>100.17717296914741</c:v>
                </c:pt>
                <c:pt idx="29">
                  <c:v>100.34620510897355</c:v>
                </c:pt>
                <c:pt idx="30">
                  <c:v>100.38882592527004</c:v>
                </c:pt>
                <c:pt idx="31">
                  <c:v>100.40173144256819</c:v>
                </c:pt>
                <c:pt idx="32">
                  <c:v>100.40696962268474</c:v>
                </c:pt>
                <c:pt idx="33">
                  <c:v>100.35335126047873</c:v>
                </c:pt>
                <c:pt idx="34">
                  <c:v>100.35335126047873</c:v>
                </c:pt>
                <c:pt idx="35">
                  <c:v>100.35335126047873</c:v>
                </c:pt>
                <c:pt idx="36">
                  <c:v>100.3133507674637</c:v>
                </c:pt>
                <c:pt idx="37">
                  <c:v>100.20518906138255</c:v>
                </c:pt>
                <c:pt idx="38">
                  <c:v>100.29290234865057</c:v>
                </c:pt>
                <c:pt idx="39">
                  <c:v>100.33724530987958</c:v>
                </c:pt>
                <c:pt idx="40">
                  <c:v>100.35141507411309</c:v>
                </c:pt>
                <c:pt idx="41">
                  <c:v>100.35141507411309</c:v>
                </c:pt>
                <c:pt idx="42">
                  <c:v>100.35141507411309</c:v>
                </c:pt>
                <c:pt idx="43">
                  <c:v>100.25065636925667</c:v>
                </c:pt>
                <c:pt idx="44">
                  <c:v>100.27086638873702</c:v>
                </c:pt>
                <c:pt idx="45">
                  <c:v>100.18661893499717</c:v>
                </c:pt>
                <c:pt idx="46">
                  <c:v>100.07412676599724</c:v>
                </c:pt>
                <c:pt idx="47">
                  <c:v>100.13318548235755</c:v>
                </c:pt>
                <c:pt idx="48">
                  <c:v>100.13318548235755</c:v>
                </c:pt>
                <c:pt idx="49">
                  <c:v>100.13318548235755</c:v>
                </c:pt>
                <c:pt idx="50">
                  <c:v>100.13318548235755</c:v>
                </c:pt>
                <c:pt idx="51">
                  <c:v>100.03858650307355</c:v>
                </c:pt>
                <c:pt idx="52">
                  <c:v>99.84782674174501</c:v>
                </c:pt>
                <c:pt idx="53">
                  <c:v>99.841223951985896</c:v>
                </c:pt>
                <c:pt idx="54">
                  <c:v>99.706569695122198</c:v>
                </c:pt>
                <c:pt idx="55">
                  <c:v>99.706569695122198</c:v>
                </c:pt>
                <c:pt idx="56">
                  <c:v>99.706569695122198</c:v>
                </c:pt>
                <c:pt idx="57">
                  <c:v>99.724446551775131</c:v>
                </c:pt>
                <c:pt idx="58">
                  <c:v>99.680122271313891</c:v>
                </c:pt>
                <c:pt idx="59">
                  <c:v>99.589072062904165</c:v>
                </c:pt>
                <c:pt idx="60">
                  <c:v>99.606877651694617</c:v>
                </c:pt>
                <c:pt idx="61">
                  <c:v>99.389779930349889</c:v>
                </c:pt>
                <c:pt idx="62">
                  <c:v>99.389779930349889</c:v>
                </c:pt>
                <c:pt idx="63">
                  <c:v>99.389779930349889</c:v>
                </c:pt>
                <c:pt idx="64">
                  <c:v>99.320620831236212</c:v>
                </c:pt>
                <c:pt idx="65">
                  <c:v>99.337584793853424</c:v>
                </c:pt>
                <c:pt idx="66">
                  <c:v>99.503080624775862</c:v>
                </c:pt>
                <c:pt idx="67">
                  <c:v>99.612660236735749</c:v>
                </c:pt>
                <c:pt idx="68">
                  <c:v>99.330473903734628</c:v>
                </c:pt>
                <c:pt idx="69">
                  <c:v>99.330473903734628</c:v>
                </c:pt>
                <c:pt idx="70">
                  <c:v>99.330473903734628</c:v>
                </c:pt>
                <c:pt idx="71">
                  <c:v>99.123449164811078</c:v>
                </c:pt>
                <c:pt idx="72">
                  <c:v>99.006000669802617</c:v>
                </c:pt>
                <c:pt idx="73">
                  <c:v>98.958987038294254</c:v>
                </c:pt>
                <c:pt idx="74">
                  <c:v>98.896142430257783</c:v>
                </c:pt>
                <c:pt idx="75">
                  <c:v>98.919982321447137</c:v>
                </c:pt>
                <c:pt idx="76">
                  <c:v>98.919982321447137</c:v>
                </c:pt>
                <c:pt idx="77">
                  <c:v>98.919982321447137</c:v>
                </c:pt>
                <c:pt idx="78">
                  <c:v>99.077398041977361</c:v>
                </c:pt>
                <c:pt idx="79">
                  <c:v>99.221903170974443</c:v>
                </c:pt>
                <c:pt idx="80">
                  <c:v>99.138817203507941</c:v>
                </c:pt>
                <c:pt idx="81">
                  <c:v>99.257222067730481</c:v>
                </c:pt>
                <c:pt idx="82">
                  <c:v>99.290562209235915</c:v>
                </c:pt>
                <c:pt idx="83">
                  <c:v>99.290562209235915</c:v>
                </c:pt>
                <c:pt idx="84">
                  <c:v>99.290562209235915</c:v>
                </c:pt>
                <c:pt idx="85">
                  <c:v>99.447901155480849</c:v>
                </c:pt>
                <c:pt idx="86">
                  <c:v>99.512262765571222</c:v>
                </c:pt>
                <c:pt idx="87">
                  <c:v>99.577452175721945</c:v>
                </c:pt>
                <c:pt idx="88">
                  <c:v>99.619725133114983</c:v>
                </c:pt>
                <c:pt idx="89">
                  <c:v>99.4422607023198</c:v>
                </c:pt>
                <c:pt idx="90">
                  <c:v>99.4422607023198</c:v>
                </c:pt>
                <c:pt idx="91">
                  <c:v>99.4422607023198</c:v>
                </c:pt>
                <c:pt idx="92">
                  <c:v>99.3219155108644</c:v>
                </c:pt>
                <c:pt idx="93">
                  <c:v>99.23349337462399</c:v>
                </c:pt>
                <c:pt idx="94">
                  <c:v>99.316488167391242</c:v>
                </c:pt>
                <c:pt idx="95">
                  <c:v>99.235893632384716</c:v>
                </c:pt>
                <c:pt idx="96">
                  <c:v>99.17364174786087</c:v>
                </c:pt>
                <c:pt idx="97">
                  <c:v>99.17364174786087</c:v>
                </c:pt>
                <c:pt idx="98">
                  <c:v>99.17364174786087</c:v>
                </c:pt>
                <c:pt idx="99">
                  <c:v>99.17364174786087</c:v>
                </c:pt>
                <c:pt idx="100">
                  <c:v>99.369417017365706</c:v>
                </c:pt>
                <c:pt idx="101">
                  <c:v>99.431260848978923</c:v>
                </c:pt>
                <c:pt idx="102">
                  <c:v>99.449218900706114</c:v>
                </c:pt>
                <c:pt idx="103">
                  <c:v>99.475238899131469</c:v>
                </c:pt>
                <c:pt idx="104">
                  <c:v>99.475238899131469</c:v>
                </c:pt>
                <c:pt idx="105">
                  <c:v>99.475238899131469</c:v>
                </c:pt>
                <c:pt idx="106">
                  <c:v>99.526765855901672</c:v>
                </c:pt>
                <c:pt idx="107">
                  <c:v>99.569485043191079</c:v>
                </c:pt>
                <c:pt idx="108">
                  <c:v>99.569015830185606</c:v>
                </c:pt>
                <c:pt idx="109">
                  <c:v>99.417631298139668</c:v>
                </c:pt>
                <c:pt idx="110">
                  <c:v>99.295341010441803</c:v>
                </c:pt>
                <c:pt idx="111">
                  <c:v>99.295341010441803</c:v>
                </c:pt>
                <c:pt idx="112">
                  <c:v>99.295341010441803</c:v>
                </c:pt>
                <c:pt idx="113">
                  <c:v>99.305095955039675</c:v>
                </c:pt>
                <c:pt idx="114">
                  <c:v>99.206404458194072</c:v>
                </c:pt>
                <c:pt idx="115">
                  <c:v>99.251899730150569</c:v>
                </c:pt>
                <c:pt idx="116">
                  <c:v>99.318424235674669</c:v>
                </c:pt>
                <c:pt idx="117">
                  <c:v>99.344005779766761</c:v>
                </c:pt>
                <c:pt idx="118">
                  <c:v>99.344005779766761</c:v>
                </c:pt>
                <c:pt idx="119">
                  <c:v>99.344005779766761</c:v>
                </c:pt>
                <c:pt idx="120">
                  <c:v>99.436679490806625</c:v>
                </c:pt>
                <c:pt idx="121">
                  <c:v>99.445586440505792</c:v>
                </c:pt>
                <c:pt idx="122">
                  <c:v>99.440625762730818</c:v>
                </c:pt>
                <c:pt idx="123">
                  <c:v>99.452427021647111</c:v>
                </c:pt>
                <c:pt idx="124">
                  <c:v>99.410349388303473</c:v>
                </c:pt>
                <c:pt idx="125">
                  <c:v>99.410349388303473</c:v>
                </c:pt>
                <c:pt idx="126">
                  <c:v>99.410349388303473</c:v>
                </c:pt>
                <c:pt idx="127">
                  <c:v>99.569556402485276</c:v>
                </c:pt>
                <c:pt idx="128">
                  <c:v>99.577616923726325</c:v>
                </c:pt>
                <c:pt idx="129">
                  <c:v>99.438811411256594</c:v>
                </c:pt>
                <c:pt idx="130">
                  <c:v>99.483319429455378</c:v>
                </c:pt>
                <c:pt idx="131">
                  <c:v>99.352871155542786</c:v>
                </c:pt>
                <c:pt idx="132">
                  <c:v>99.352871155542786</c:v>
                </c:pt>
                <c:pt idx="133">
                  <c:v>99.352871155542786</c:v>
                </c:pt>
                <c:pt idx="134">
                  <c:v>99.352871155542786</c:v>
                </c:pt>
                <c:pt idx="135">
                  <c:v>99.352871155542786</c:v>
                </c:pt>
                <c:pt idx="136">
                  <c:v>99.2575860991833</c:v>
                </c:pt>
                <c:pt idx="137">
                  <c:v>99.225892863446589</c:v>
                </c:pt>
                <c:pt idx="138">
                  <c:v>99.295121596113532</c:v>
                </c:pt>
                <c:pt idx="139">
                  <c:v>99.295121596113532</c:v>
                </c:pt>
                <c:pt idx="140">
                  <c:v>99.295121596113532</c:v>
                </c:pt>
                <c:pt idx="141">
                  <c:v>99.497842292358939</c:v>
                </c:pt>
                <c:pt idx="142">
                  <c:v>99.558878409727569</c:v>
                </c:pt>
                <c:pt idx="143">
                  <c:v>99.631521963741193</c:v>
                </c:pt>
                <c:pt idx="144">
                  <c:v>99.62028769664515</c:v>
                </c:pt>
                <c:pt idx="145">
                  <c:v>99.595060249447044</c:v>
                </c:pt>
                <c:pt idx="146">
                  <c:v>99.595060249447044</c:v>
                </c:pt>
                <c:pt idx="147">
                  <c:v>99.595060249447044</c:v>
                </c:pt>
                <c:pt idx="148">
                  <c:v>99.40989324955315</c:v>
                </c:pt>
                <c:pt idx="149">
                  <c:v>99.262253594291437</c:v>
                </c:pt>
                <c:pt idx="150">
                  <c:v>99.108743040840977</c:v>
                </c:pt>
                <c:pt idx="151">
                  <c:v>98.886385076938396</c:v>
                </c:pt>
                <c:pt idx="152">
                  <c:v>98.886385076938396</c:v>
                </c:pt>
                <c:pt idx="153">
                  <c:v>98.886385076938396</c:v>
                </c:pt>
                <c:pt idx="154">
                  <c:v>98.886385076938396</c:v>
                </c:pt>
                <c:pt idx="155">
                  <c:v>98.638005120084244</c:v>
                </c:pt>
                <c:pt idx="156">
                  <c:v>98.086032976624281</c:v>
                </c:pt>
                <c:pt idx="157">
                  <c:v>97.812587720763872</c:v>
                </c:pt>
                <c:pt idx="158">
                  <c:v>97.754876076437384</c:v>
                </c:pt>
                <c:pt idx="159">
                  <c:v>97.641666919948008</c:v>
                </c:pt>
                <c:pt idx="160">
                  <c:v>97.641666919948008</c:v>
                </c:pt>
                <c:pt idx="161">
                  <c:v>97.641666919948008</c:v>
                </c:pt>
                <c:pt idx="162">
                  <c:v>97.646243075169693</c:v>
                </c:pt>
                <c:pt idx="163">
                  <c:v>97.594063532833346</c:v>
                </c:pt>
                <c:pt idx="164">
                  <c:v>97.536191479589903</c:v>
                </c:pt>
                <c:pt idx="165">
                  <c:v>97.518587612038758</c:v>
                </c:pt>
                <c:pt idx="166">
                  <c:v>97.609951232091859</c:v>
                </c:pt>
                <c:pt idx="167">
                  <c:v>97.609951232091859</c:v>
                </c:pt>
                <c:pt idx="168">
                  <c:v>97.609951232091859</c:v>
                </c:pt>
                <c:pt idx="169">
                  <c:v>97.964329872633627</c:v>
                </c:pt>
                <c:pt idx="170">
                  <c:v>98.365366609478698</c:v>
                </c:pt>
                <c:pt idx="171">
                  <c:v>98.544175827309118</c:v>
                </c:pt>
                <c:pt idx="172">
                  <c:v>98.544175827309118</c:v>
                </c:pt>
                <c:pt idx="173">
                  <c:v>98.252380024164552</c:v>
                </c:pt>
                <c:pt idx="174">
                  <c:v>98.252380024164552</c:v>
                </c:pt>
                <c:pt idx="175">
                  <c:v>98.252380024164552</c:v>
                </c:pt>
                <c:pt idx="176">
                  <c:v>98.402597829027386</c:v>
                </c:pt>
                <c:pt idx="177">
                  <c:v>98.402597829027386</c:v>
                </c:pt>
                <c:pt idx="178">
                  <c:v>98.583583598319763</c:v>
                </c:pt>
                <c:pt idx="179">
                  <c:v>98.659574478429036</c:v>
                </c:pt>
                <c:pt idx="180">
                  <c:v>98.709994258552072</c:v>
                </c:pt>
                <c:pt idx="181">
                  <c:v>98.709994258552072</c:v>
                </c:pt>
                <c:pt idx="182">
                  <c:v>98.709994258552072</c:v>
                </c:pt>
                <c:pt idx="183">
                  <c:v>98.677753941705404</c:v>
                </c:pt>
                <c:pt idx="184">
                  <c:v>98.758949244077101</c:v>
                </c:pt>
                <c:pt idx="185">
                  <c:v>98.767459272476728</c:v>
                </c:pt>
                <c:pt idx="186">
                  <c:v>98.930654175735526</c:v>
                </c:pt>
                <c:pt idx="187">
                  <c:v>98.995703892653339</c:v>
                </c:pt>
                <c:pt idx="188">
                  <c:v>98.995703892653339</c:v>
                </c:pt>
                <c:pt idx="189">
                  <c:v>98.995703892653339</c:v>
                </c:pt>
                <c:pt idx="190">
                  <c:v>99.053964166276742</c:v>
                </c:pt>
                <c:pt idx="191">
                  <c:v>99.068077000861464</c:v>
                </c:pt>
                <c:pt idx="192">
                  <c:v>99.071199538211161</c:v>
                </c:pt>
                <c:pt idx="193">
                  <c:v>99.03761381030813</c:v>
                </c:pt>
                <c:pt idx="194">
                  <c:v>98.898869459357343</c:v>
                </c:pt>
                <c:pt idx="195">
                  <c:v>98.898869459357343</c:v>
                </c:pt>
                <c:pt idx="196">
                  <c:v>98.898869459357343</c:v>
                </c:pt>
                <c:pt idx="197">
                  <c:v>98.86720435850448</c:v>
                </c:pt>
                <c:pt idx="198">
                  <c:v>98.945796200577107</c:v>
                </c:pt>
                <c:pt idx="199">
                  <c:v>98.653057690880701</c:v>
                </c:pt>
                <c:pt idx="200">
                  <c:v>98.480410975296181</c:v>
                </c:pt>
                <c:pt idx="201">
                  <c:v>98.270772792118876</c:v>
                </c:pt>
                <c:pt idx="202">
                  <c:v>98.270772792118876</c:v>
                </c:pt>
                <c:pt idx="203">
                  <c:v>98.270772792118876</c:v>
                </c:pt>
                <c:pt idx="204">
                  <c:v>98.303750113748606</c:v>
                </c:pt>
                <c:pt idx="205">
                  <c:v>98.398115307679589</c:v>
                </c:pt>
                <c:pt idx="206">
                  <c:v>98.357853437678827</c:v>
                </c:pt>
                <c:pt idx="207">
                  <c:v>98.354818061136299</c:v>
                </c:pt>
                <c:pt idx="208">
                  <c:v>98.323658069865402</c:v>
                </c:pt>
                <c:pt idx="209">
                  <c:v>98.323658069865402</c:v>
                </c:pt>
                <c:pt idx="210">
                  <c:v>98.323658069865402</c:v>
                </c:pt>
                <c:pt idx="211">
                  <c:v>98.387529468511516</c:v>
                </c:pt>
                <c:pt idx="212">
                  <c:v>98.371502430227522</c:v>
                </c:pt>
                <c:pt idx="213">
                  <c:v>98.332888482174155</c:v>
                </c:pt>
                <c:pt idx="214">
                  <c:v>98.332888482174155</c:v>
                </c:pt>
                <c:pt idx="215">
                  <c:v>98.283859519467669</c:v>
                </c:pt>
                <c:pt idx="216">
                  <c:v>98.283859519467669</c:v>
                </c:pt>
                <c:pt idx="217">
                  <c:v>98.283859519467669</c:v>
                </c:pt>
                <c:pt idx="218">
                  <c:v>98.259578100754041</c:v>
                </c:pt>
                <c:pt idx="219">
                  <c:v>98.13988759614854</c:v>
                </c:pt>
                <c:pt idx="220">
                  <c:v>98.126616228389409</c:v>
                </c:pt>
                <c:pt idx="221">
                  <c:v>98.054230618410145</c:v>
                </c:pt>
                <c:pt idx="222">
                  <c:v>97.977288108459746</c:v>
                </c:pt>
                <c:pt idx="223">
                  <c:v>97.977288108459746</c:v>
                </c:pt>
                <c:pt idx="224">
                  <c:v>97.977288108459746</c:v>
                </c:pt>
                <c:pt idx="225">
                  <c:v>98.050511735293398</c:v>
                </c:pt>
                <c:pt idx="226">
                  <c:v>98.483654484439839</c:v>
                </c:pt>
                <c:pt idx="227">
                  <c:v>98.466366066336136</c:v>
                </c:pt>
                <c:pt idx="228">
                  <c:v>98.666997278297629</c:v>
                </c:pt>
                <c:pt idx="229">
                  <c:v>98.666997278297629</c:v>
                </c:pt>
                <c:pt idx="230">
                  <c:v>98.666997278297629</c:v>
                </c:pt>
                <c:pt idx="231">
                  <c:v>98.666997278297629</c:v>
                </c:pt>
                <c:pt idx="232">
                  <c:v>98.957415058389486</c:v>
                </c:pt>
                <c:pt idx="233">
                  <c:v>98.998777182944579</c:v>
                </c:pt>
                <c:pt idx="234">
                  <c:v>99.124364210685187</c:v>
                </c:pt>
                <c:pt idx="235">
                  <c:v>99.165722433196777</c:v>
                </c:pt>
                <c:pt idx="236">
                  <c:v>99.165722433196777</c:v>
                </c:pt>
                <c:pt idx="237">
                  <c:v>99.165722433196777</c:v>
                </c:pt>
                <c:pt idx="238">
                  <c:v>99.165722433196777</c:v>
                </c:pt>
                <c:pt idx="239">
                  <c:v>99.214843749612939</c:v>
                </c:pt>
                <c:pt idx="240">
                  <c:v>99.312397502350038</c:v>
                </c:pt>
                <c:pt idx="241">
                  <c:v>99.305418223002789</c:v>
                </c:pt>
                <c:pt idx="242">
                  <c:v>99.338987463460526</c:v>
                </c:pt>
                <c:pt idx="243">
                  <c:v>99.291134761968593</c:v>
                </c:pt>
                <c:pt idx="244">
                  <c:v>99.291134761968593</c:v>
                </c:pt>
                <c:pt idx="245">
                  <c:v>99.291134761968593</c:v>
                </c:pt>
                <c:pt idx="246">
                  <c:v>99.408798737702966</c:v>
                </c:pt>
                <c:pt idx="247">
                  <c:v>99.409861652651259</c:v>
                </c:pt>
                <c:pt idx="248">
                  <c:v>99.432381301623693</c:v>
                </c:pt>
                <c:pt idx="249">
                  <c:v>99.175785294672025</c:v>
                </c:pt>
                <c:pt idx="250">
                  <c:v>99.183377985569635</c:v>
                </c:pt>
                <c:pt idx="251">
                  <c:v>99.183377985569635</c:v>
                </c:pt>
                <c:pt idx="252">
                  <c:v>99.183377985569635</c:v>
                </c:pt>
                <c:pt idx="253">
                  <c:v>99.183377985569635</c:v>
                </c:pt>
                <c:pt idx="254">
                  <c:v>99.232139080555655</c:v>
                </c:pt>
                <c:pt idx="255">
                  <c:v>99.278664099175941</c:v>
                </c:pt>
                <c:pt idx="256">
                  <c:v>99.521423199485</c:v>
                </c:pt>
                <c:pt idx="257">
                  <c:v>99.518787415005946</c:v>
                </c:pt>
                <c:pt idx="258">
                  <c:v>99.518787415005946</c:v>
                </c:pt>
                <c:pt idx="259">
                  <c:v>99.518787415005946</c:v>
                </c:pt>
                <c:pt idx="260">
                  <c:v>99.556078989019582</c:v>
                </c:pt>
                <c:pt idx="261">
                  <c:v>99.564466039593071</c:v>
                </c:pt>
                <c:pt idx="262">
                  <c:v>99.665160850534463</c:v>
                </c:pt>
                <c:pt idx="263">
                  <c:v>99.706637117516379</c:v>
                </c:pt>
                <c:pt idx="264">
                  <c:v>99.833358212235268</c:v>
                </c:pt>
                <c:pt idx="265">
                  <c:v>99.833358212235268</c:v>
                </c:pt>
                <c:pt idx="266">
                  <c:v>99.833358212235268</c:v>
                </c:pt>
                <c:pt idx="267">
                  <c:v>99.884545776784933</c:v>
                </c:pt>
                <c:pt idx="268">
                  <c:v>99.799051292982298</c:v>
                </c:pt>
                <c:pt idx="269">
                  <c:v>99.729113343295978</c:v>
                </c:pt>
                <c:pt idx="270">
                  <c:v>99.695646916431699</c:v>
                </c:pt>
                <c:pt idx="271">
                  <c:v>99.638784822111106</c:v>
                </c:pt>
                <c:pt idx="272">
                  <c:v>99.638784822111106</c:v>
                </c:pt>
                <c:pt idx="273">
                  <c:v>99.638784822111106</c:v>
                </c:pt>
                <c:pt idx="274">
                  <c:v>99.473997610381602</c:v>
                </c:pt>
                <c:pt idx="275">
                  <c:v>99.341593168038926</c:v>
                </c:pt>
                <c:pt idx="276">
                  <c:v>99.45976872475687</c:v>
                </c:pt>
                <c:pt idx="277">
                  <c:v>99.354670685095755</c:v>
                </c:pt>
                <c:pt idx="278">
                  <c:v>99.480090958633227</c:v>
                </c:pt>
                <c:pt idx="279">
                  <c:v>99.480090958633227</c:v>
                </c:pt>
                <c:pt idx="280">
                  <c:v>99.480090958633227</c:v>
                </c:pt>
                <c:pt idx="281">
                  <c:v>99.555344575020072</c:v>
                </c:pt>
                <c:pt idx="282">
                  <c:v>99.549042925139375</c:v>
                </c:pt>
                <c:pt idx="283">
                  <c:v>99.576730044170347</c:v>
                </c:pt>
                <c:pt idx="284">
                  <c:v>99.69199972145806</c:v>
                </c:pt>
                <c:pt idx="285">
                  <c:v>99.672599419121866</c:v>
                </c:pt>
                <c:pt idx="286">
                  <c:v>99.672599419121866</c:v>
                </c:pt>
                <c:pt idx="287">
                  <c:v>99.672599419121866</c:v>
                </c:pt>
                <c:pt idx="288">
                  <c:v>99.73389538801014</c:v>
                </c:pt>
                <c:pt idx="289">
                  <c:v>99.822888812334455</c:v>
                </c:pt>
                <c:pt idx="290">
                  <c:v>99.890565718465893</c:v>
                </c:pt>
                <c:pt idx="291">
                  <c:v>99.984373431579442</c:v>
                </c:pt>
                <c:pt idx="292">
                  <c:v>100.00848214588649</c:v>
                </c:pt>
                <c:pt idx="293">
                  <c:v>100.00848214588649</c:v>
                </c:pt>
                <c:pt idx="294">
                  <c:v>100.00848214588649</c:v>
                </c:pt>
                <c:pt idx="295">
                  <c:v>100.05181535511382</c:v>
                </c:pt>
                <c:pt idx="296">
                  <c:v>100.06650056830422</c:v>
                </c:pt>
                <c:pt idx="297">
                  <c:v>99.949984308455953</c:v>
                </c:pt>
                <c:pt idx="298">
                  <c:v>99.958608121280122</c:v>
                </c:pt>
                <c:pt idx="299">
                  <c:v>99.995607572746749</c:v>
                </c:pt>
                <c:pt idx="300">
                  <c:v>99.995607572746749</c:v>
                </c:pt>
                <c:pt idx="301">
                  <c:v>99.995607572746749</c:v>
                </c:pt>
                <c:pt idx="302">
                  <c:v>100.07249951433363</c:v>
                </c:pt>
                <c:pt idx="303">
                  <c:v>100.11841819324094</c:v>
                </c:pt>
                <c:pt idx="304">
                  <c:v>100.08537478287923</c:v>
                </c:pt>
                <c:pt idx="305">
                  <c:v>100.12793918947885</c:v>
                </c:pt>
                <c:pt idx="306">
                  <c:v>100.01978119013624</c:v>
                </c:pt>
                <c:pt idx="307">
                  <c:v>100.01978119013624</c:v>
                </c:pt>
                <c:pt idx="308">
                  <c:v>100.01978119013624</c:v>
                </c:pt>
                <c:pt idx="309">
                  <c:v>100.00564346236429</c:v>
                </c:pt>
                <c:pt idx="310">
                  <c:v>100.19103238018978</c:v>
                </c:pt>
                <c:pt idx="311">
                  <c:v>100.22005472576654</c:v>
                </c:pt>
                <c:pt idx="312">
                  <c:v>100.25493474900183</c:v>
                </c:pt>
                <c:pt idx="313">
                  <c:v>100.33060688883232</c:v>
                </c:pt>
                <c:pt idx="314">
                  <c:v>100.33060688883232</c:v>
                </c:pt>
                <c:pt idx="315">
                  <c:v>100.33060688883232</c:v>
                </c:pt>
                <c:pt idx="316">
                  <c:v>100.47478573687265</c:v>
                </c:pt>
                <c:pt idx="317">
                  <c:v>100.46934220033603</c:v>
                </c:pt>
                <c:pt idx="318">
                  <c:v>100.40698442916459</c:v>
                </c:pt>
                <c:pt idx="319">
                  <c:v>100.34446173731554</c:v>
                </c:pt>
                <c:pt idx="320">
                  <c:v>100.32028034695878</c:v>
                </c:pt>
                <c:pt idx="321">
                  <c:v>100.32028034695878</c:v>
                </c:pt>
                <c:pt idx="322">
                  <c:v>100.32028034695878</c:v>
                </c:pt>
                <c:pt idx="323">
                  <c:v>100.38492956683069</c:v>
                </c:pt>
                <c:pt idx="324">
                  <c:v>100.48998372192686</c:v>
                </c:pt>
                <c:pt idx="325">
                  <c:v>100.56304226600992</c:v>
                </c:pt>
                <c:pt idx="326">
                  <c:v>100.56304226600992</c:v>
                </c:pt>
                <c:pt idx="327">
                  <c:v>100.67397154918022</c:v>
                </c:pt>
                <c:pt idx="328">
                  <c:v>100.67397154918022</c:v>
                </c:pt>
                <c:pt idx="329">
                  <c:v>100.67397154918022</c:v>
                </c:pt>
                <c:pt idx="330">
                  <c:v>100.74491871418529</c:v>
                </c:pt>
                <c:pt idx="331">
                  <c:v>100.72160639089611</c:v>
                </c:pt>
                <c:pt idx="332">
                  <c:v>100.77062033983104</c:v>
                </c:pt>
                <c:pt idx="333">
                  <c:v>100.91851747094493</c:v>
                </c:pt>
                <c:pt idx="334">
                  <c:v>100.97607501916076</c:v>
                </c:pt>
                <c:pt idx="335">
                  <c:v>100.98654343941269</c:v>
                </c:pt>
                <c:pt idx="336">
                  <c:v>100.98654343941269</c:v>
                </c:pt>
                <c:pt idx="337">
                  <c:v>100.90216345702125</c:v>
                </c:pt>
                <c:pt idx="338">
                  <c:v>100.94596014225924</c:v>
                </c:pt>
                <c:pt idx="339">
                  <c:v>101.06243157383007</c:v>
                </c:pt>
                <c:pt idx="340">
                  <c:v>101.08731426855734</c:v>
                </c:pt>
                <c:pt idx="341">
                  <c:v>101.13081887523663</c:v>
                </c:pt>
                <c:pt idx="342">
                  <c:v>101.13081887523663</c:v>
                </c:pt>
                <c:pt idx="343">
                  <c:v>101.13081887523663</c:v>
                </c:pt>
                <c:pt idx="344">
                  <c:v>101.13469130828328</c:v>
                </c:pt>
                <c:pt idx="345">
                  <c:v>101.10262303921947</c:v>
                </c:pt>
                <c:pt idx="346">
                  <c:v>101.19027571152147</c:v>
                </c:pt>
                <c:pt idx="347">
                  <c:v>101.22273283389798</c:v>
                </c:pt>
                <c:pt idx="348">
                  <c:v>101.22273283389798</c:v>
                </c:pt>
                <c:pt idx="349">
                  <c:v>101.22273283389798</c:v>
                </c:pt>
                <c:pt idx="350">
                  <c:v>101.19950633518562</c:v>
                </c:pt>
                <c:pt idx="351">
                  <c:v>101.16243883803385</c:v>
                </c:pt>
                <c:pt idx="352">
                  <c:v>101.1242424552117</c:v>
                </c:pt>
                <c:pt idx="353">
                  <c:v>100.92140263120423</c:v>
                </c:pt>
                <c:pt idx="354">
                  <c:v>100.69489097817545</c:v>
                </c:pt>
                <c:pt idx="355">
                  <c:v>100.69489097817545</c:v>
                </c:pt>
                <c:pt idx="356">
                  <c:v>100.69489097817545</c:v>
                </c:pt>
                <c:pt idx="357">
                  <c:v>100.83632124612267</c:v>
                </c:pt>
                <c:pt idx="358">
                  <c:v>100.83632124612267</c:v>
                </c:pt>
                <c:pt idx="359">
                  <c:v>100.97109750382407</c:v>
                </c:pt>
                <c:pt idx="360">
                  <c:v>101.14058884627566</c:v>
                </c:pt>
                <c:pt idx="361">
                  <c:v>101.21222235532024</c:v>
                </c:pt>
                <c:pt idx="362">
                  <c:v>101.21222235532024</c:v>
                </c:pt>
                <c:pt idx="363">
                  <c:v>101.21222235532024</c:v>
                </c:pt>
                <c:pt idx="364">
                  <c:v>101.24810989363938</c:v>
                </c:pt>
                <c:pt idx="365">
                  <c:v>101.24810989363938</c:v>
                </c:pt>
                <c:pt idx="366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CB-44DA-93F1-D3B2E3BE4EB1}"/>
            </c:ext>
          </c:extLst>
        </c:ser>
        <c:ser>
          <c:idx val="3"/>
          <c:order val="3"/>
          <c:tx>
            <c:v>E plus</c:v>
          </c:tx>
          <c:spPr>
            <a:ln w="2222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eplus_yld_12m!$A$2:$A$500</c:f>
              <c:numCache>
                <c:formatCode>m/d/yyyy</c:formatCode>
                <c:ptCount val="499"/>
                <c:pt idx="0">
                  <c:v>42861</c:v>
                </c:pt>
                <c:pt idx="1">
                  <c:v>42862</c:v>
                </c:pt>
                <c:pt idx="2">
                  <c:v>42863</c:v>
                </c:pt>
                <c:pt idx="3">
                  <c:v>42864</c:v>
                </c:pt>
                <c:pt idx="4">
                  <c:v>42865</c:v>
                </c:pt>
                <c:pt idx="5">
                  <c:v>42866</c:v>
                </c:pt>
                <c:pt idx="6">
                  <c:v>42867</c:v>
                </c:pt>
                <c:pt idx="7">
                  <c:v>42868</c:v>
                </c:pt>
                <c:pt idx="8">
                  <c:v>42869</c:v>
                </c:pt>
                <c:pt idx="9">
                  <c:v>42870</c:v>
                </c:pt>
                <c:pt idx="10">
                  <c:v>42871</c:v>
                </c:pt>
                <c:pt idx="11">
                  <c:v>42872</c:v>
                </c:pt>
                <c:pt idx="12">
                  <c:v>42873</c:v>
                </c:pt>
                <c:pt idx="13">
                  <c:v>42874</c:v>
                </c:pt>
                <c:pt idx="14">
                  <c:v>42875</c:v>
                </c:pt>
                <c:pt idx="15">
                  <c:v>42876</c:v>
                </c:pt>
                <c:pt idx="16">
                  <c:v>42877</c:v>
                </c:pt>
                <c:pt idx="17">
                  <c:v>42878</c:v>
                </c:pt>
                <c:pt idx="18">
                  <c:v>42879</c:v>
                </c:pt>
                <c:pt idx="19">
                  <c:v>42880</c:v>
                </c:pt>
                <c:pt idx="20">
                  <c:v>42881</c:v>
                </c:pt>
                <c:pt idx="21">
                  <c:v>42882</c:v>
                </c:pt>
                <c:pt idx="22">
                  <c:v>42883</c:v>
                </c:pt>
                <c:pt idx="23">
                  <c:v>42884</c:v>
                </c:pt>
                <c:pt idx="24">
                  <c:v>42885</c:v>
                </c:pt>
                <c:pt idx="25">
                  <c:v>42886</c:v>
                </c:pt>
                <c:pt idx="26">
                  <c:v>42887</c:v>
                </c:pt>
                <c:pt idx="27">
                  <c:v>42888</c:v>
                </c:pt>
                <c:pt idx="28">
                  <c:v>42889</c:v>
                </c:pt>
                <c:pt idx="29">
                  <c:v>42890</c:v>
                </c:pt>
                <c:pt idx="30">
                  <c:v>42891</c:v>
                </c:pt>
                <c:pt idx="31">
                  <c:v>42892</c:v>
                </c:pt>
                <c:pt idx="32">
                  <c:v>42893</c:v>
                </c:pt>
                <c:pt idx="33">
                  <c:v>42894</c:v>
                </c:pt>
                <c:pt idx="34">
                  <c:v>42895</c:v>
                </c:pt>
                <c:pt idx="35">
                  <c:v>42896</c:v>
                </c:pt>
                <c:pt idx="36">
                  <c:v>42897</c:v>
                </c:pt>
                <c:pt idx="37">
                  <c:v>42898</c:v>
                </c:pt>
                <c:pt idx="38">
                  <c:v>42899</c:v>
                </c:pt>
                <c:pt idx="39">
                  <c:v>42900</c:v>
                </c:pt>
                <c:pt idx="40">
                  <c:v>42901</c:v>
                </c:pt>
                <c:pt idx="41">
                  <c:v>42902</c:v>
                </c:pt>
                <c:pt idx="42">
                  <c:v>42903</c:v>
                </c:pt>
                <c:pt idx="43">
                  <c:v>42904</c:v>
                </c:pt>
                <c:pt idx="44">
                  <c:v>42905</c:v>
                </c:pt>
                <c:pt idx="45">
                  <c:v>42906</c:v>
                </c:pt>
                <c:pt idx="46">
                  <c:v>42907</c:v>
                </c:pt>
                <c:pt idx="47">
                  <c:v>42908</c:v>
                </c:pt>
                <c:pt idx="48">
                  <c:v>42909</c:v>
                </c:pt>
                <c:pt idx="49">
                  <c:v>42910</c:v>
                </c:pt>
                <c:pt idx="50">
                  <c:v>42911</c:v>
                </c:pt>
                <c:pt idx="51">
                  <c:v>42912</c:v>
                </c:pt>
                <c:pt idx="52">
                  <c:v>42913</c:v>
                </c:pt>
                <c:pt idx="53">
                  <c:v>42914</c:v>
                </c:pt>
                <c:pt idx="54">
                  <c:v>42915</c:v>
                </c:pt>
                <c:pt idx="55">
                  <c:v>42916</c:v>
                </c:pt>
                <c:pt idx="56">
                  <c:v>42917</c:v>
                </c:pt>
                <c:pt idx="57">
                  <c:v>42918</c:v>
                </c:pt>
                <c:pt idx="58">
                  <c:v>42919</c:v>
                </c:pt>
                <c:pt idx="59">
                  <c:v>42920</c:v>
                </c:pt>
                <c:pt idx="60">
                  <c:v>42921</c:v>
                </c:pt>
                <c:pt idx="61">
                  <c:v>42922</c:v>
                </c:pt>
                <c:pt idx="62">
                  <c:v>42923</c:v>
                </c:pt>
                <c:pt idx="63">
                  <c:v>42924</c:v>
                </c:pt>
                <c:pt idx="64">
                  <c:v>42925</c:v>
                </c:pt>
                <c:pt idx="65">
                  <c:v>42926</c:v>
                </c:pt>
                <c:pt idx="66">
                  <c:v>42927</c:v>
                </c:pt>
                <c:pt idx="67">
                  <c:v>42928</c:v>
                </c:pt>
                <c:pt idx="68">
                  <c:v>42929</c:v>
                </c:pt>
                <c:pt idx="69">
                  <c:v>42930</c:v>
                </c:pt>
                <c:pt idx="70">
                  <c:v>42931</c:v>
                </c:pt>
                <c:pt idx="71">
                  <c:v>42932</c:v>
                </c:pt>
                <c:pt idx="72">
                  <c:v>42933</c:v>
                </c:pt>
                <c:pt idx="73">
                  <c:v>42934</c:v>
                </c:pt>
                <c:pt idx="74">
                  <c:v>42935</c:v>
                </c:pt>
                <c:pt idx="75">
                  <c:v>42936</c:v>
                </c:pt>
                <c:pt idx="76">
                  <c:v>42937</c:v>
                </c:pt>
                <c:pt idx="77">
                  <c:v>42938</c:v>
                </c:pt>
                <c:pt idx="78">
                  <c:v>42939</c:v>
                </c:pt>
                <c:pt idx="79">
                  <c:v>42940</c:v>
                </c:pt>
                <c:pt idx="80">
                  <c:v>42941</c:v>
                </c:pt>
                <c:pt idx="81">
                  <c:v>42942</c:v>
                </c:pt>
                <c:pt idx="82">
                  <c:v>42943</c:v>
                </c:pt>
                <c:pt idx="83">
                  <c:v>42944</c:v>
                </c:pt>
                <c:pt idx="84">
                  <c:v>42945</c:v>
                </c:pt>
                <c:pt idx="85">
                  <c:v>42946</c:v>
                </c:pt>
                <c:pt idx="86">
                  <c:v>42947</c:v>
                </c:pt>
                <c:pt idx="87">
                  <c:v>42948</c:v>
                </c:pt>
                <c:pt idx="88">
                  <c:v>42949</c:v>
                </c:pt>
                <c:pt idx="89">
                  <c:v>42950</c:v>
                </c:pt>
                <c:pt idx="90">
                  <c:v>42951</c:v>
                </c:pt>
                <c:pt idx="91">
                  <c:v>42952</c:v>
                </c:pt>
                <c:pt idx="92">
                  <c:v>42953</c:v>
                </c:pt>
                <c:pt idx="93">
                  <c:v>42954</c:v>
                </c:pt>
                <c:pt idx="94">
                  <c:v>42955</c:v>
                </c:pt>
                <c:pt idx="95">
                  <c:v>42956</c:v>
                </c:pt>
                <c:pt idx="96">
                  <c:v>42957</c:v>
                </c:pt>
                <c:pt idx="97">
                  <c:v>42958</c:v>
                </c:pt>
                <c:pt idx="98">
                  <c:v>42959</c:v>
                </c:pt>
                <c:pt idx="99">
                  <c:v>42960</c:v>
                </c:pt>
                <c:pt idx="100">
                  <c:v>42961</c:v>
                </c:pt>
                <c:pt idx="101">
                  <c:v>42962</c:v>
                </c:pt>
                <c:pt idx="102">
                  <c:v>42963</c:v>
                </c:pt>
                <c:pt idx="103">
                  <c:v>42964</c:v>
                </c:pt>
                <c:pt idx="104">
                  <c:v>42965</c:v>
                </c:pt>
                <c:pt idx="105">
                  <c:v>42966</c:v>
                </c:pt>
                <c:pt idx="106">
                  <c:v>42967</c:v>
                </c:pt>
                <c:pt idx="107">
                  <c:v>42968</c:v>
                </c:pt>
                <c:pt idx="108">
                  <c:v>42969</c:v>
                </c:pt>
                <c:pt idx="109">
                  <c:v>42970</c:v>
                </c:pt>
                <c:pt idx="110">
                  <c:v>42971</c:v>
                </c:pt>
                <c:pt idx="111">
                  <c:v>42972</c:v>
                </c:pt>
                <c:pt idx="112">
                  <c:v>42973</c:v>
                </c:pt>
                <c:pt idx="113">
                  <c:v>42974</c:v>
                </c:pt>
                <c:pt idx="114">
                  <c:v>42975</c:v>
                </c:pt>
                <c:pt idx="115">
                  <c:v>42976</c:v>
                </c:pt>
                <c:pt idx="116">
                  <c:v>42977</c:v>
                </c:pt>
                <c:pt idx="117">
                  <c:v>42978</c:v>
                </c:pt>
                <c:pt idx="118">
                  <c:v>42979</c:v>
                </c:pt>
                <c:pt idx="119">
                  <c:v>42980</c:v>
                </c:pt>
                <c:pt idx="120">
                  <c:v>42981</c:v>
                </c:pt>
                <c:pt idx="121">
                  <c:v>42982</c:v>
                </c:pt>
                <c:pt idx="122">
                  <c:v>42983</c:v>
                </c:pt>
                <c:pt idx="123">
                  <c:v>42984</c:v>
                </c:pt>
                <c:pt idx="124">
                  <c:v>42985</c:v>
                </c:pt>
                <c:pt idx="125">
                  <c:v>42986</c:v>
                </c:pt>
                <c:pt idx="126">
                  <c:v>42987</c:v>
                </c:pt>
                <c:pt idx="127">
                  <c:v>42988</c:v>
                </c:pt>
                <c:pt idx="128">
                  <c:v>42989</c:v>
                </c:pt>
                <c:pt idx="129">
                  <c:v>42990</c:v>
                </c:pt>
                <c:pt idx="130">
                  <c:v>42991</c:v>
                </c:pt>
                <c:pt idx="131">
                  <c:v>42992</c:v>
                </c:pt>
                <c:pt idx="132">
                  <c:v>42993</c:v>
                </c:pt>
                <c:pt idx="133">
                  <c:v>42994</c:v>
                </c:pt>
                <c:pt idx="134">
                  <c:v>42995</c:v>
                </c:pt>
                <c:pt idx="135">
                  <c:v>42996</c:v>
                </c:pt>
                <c:pt idx="136">
                  <c:v>42997</c:v>
                </c:pt>
                <c:pt idx="137">
                  <c:v>42998</c:v>
                </c:pt>
                <c:pt idx="138">
                  <c:v>42999</c:v>
                </c:pt>
                <c:pt idx="139">
                  <c:v>43000</c:v>
                </c:pt>
                <c:pt idx="140">
                  <c:v>43001</c:v>
                </c:pt>
                <c:pt idx="141">
                  <c:v>43002</c:v>
                </c:pt>
                <c:pt idx="142">
                  <c:v>43003</c:v>
                </c:pt>
                <c:pt idx="143">
                  <c:v>43004</c:v>
                </c:pt>
                <c:pt idx="144">
                  <c:v>43005</c:v>
                </c:pt>
                <c:pt idx="145">
                  <c:v>43006</c:v>
                </c:pt>
                <c:pt idx="146">
                  <c:v>43007</c:v>
                </c:pt>
                <c:pt idx="147">
                  <c:v>43008</c:v>
                </c:pt>
                <c:pt idx="148">
                  <c:v>43009</c:v>
                </c:pt>
                <c:pt idx="149">
                  <c:v>43010</c:v>
                </c:pt>
                <c:pt idx="150">
                  <c:v>43011</c:v>
                </c:pt>
                <c:pt idx="151">
                  <c:v>43012</c:v>
                </c:pt>
                <c:pt idx="152">
                  <c:v>43013</c:v>
                </c:pt>
                <c:pt idx="153">
                  <c:v>43014</c:v>
                </c:pt>
                <c:pt idx="154">
                  <c:v>43015</c:v>
                </c:pt>
                <c:pt idx="155">
                  <c:v>43016</c:v>
                </c:pt>
                <c:pt idx="156">
                  <c:v>43017</c:v>
                </c:pt>
                <c:pt idx="157">
                  <c:v>43018</c:v>
                </c:pt>
                <c:pt idx="158">
                  <c:v>43019</c:v>
                </c:pt>
                <c:pt idx="159">
                  <c:v>43020</c:v>
                </c:pt>
                <c:pt idx="160">
                  <c:v>43021</c:v>
                </c:pt>
                <c:pt idx="161">
                  <c:v>43022</c:v>
                </c:pt>
                <c:pt idx="162">
                  <c:v>43023</c:v>
                </c:pt>
                <c:pt idx="163">
                  <c:v>43024</c:v>
                </c:pt>
                <c:pt idx="164">
                  <c:v>43025</c:v>
                </c:pt>
                <c:pt idx="165">
                  <c:v>43026</c:v>
                </c:pt>
                <c:pt idx="166">
                  <c:v>43027</c:v>
                </c:pt>
                <c:pt idx="167">
                  <c:v>43028</c:v>
                </c:pt>
                <c:pt idx="168">
                  <c:v>43029</c:v>
                </c:pt>
                <c:pt idx="169">
                  <c:v>43030</c:v>
                </c:pt>
                <c:pt idx="170">
                  <c:v>43031</c:v>
                </c:pt>
                <c:pt idx="171">
                  <c:v>43032</c:v>
                </c:pt>
                <c:pt idx="172">
                  <c:v>43033</c:v>
                </c:pt>
                <c:pt idx="173">
                  <c:v>43034</c:v>
                </c:pt>
                <c:pt idx="174">
                  <c:v>43035</c:v>
                </c:pt>
                <c:pt idx="175">
                  <c:v>43036</c:v>
                </c:pt>
                <c:pt idx="176">
                  <c:v>43037</c:v>
                </c:pt>
                <c:pt idx="177">
                  <c:v>43038</c:v>
                </c:pt>
                <c:pt idx="178">
                  <c:v>43039</c:v>
                </c:pt>
                <c:pt idx="179">
                  <c:v>43040</c:v>
                </c:pt>
                <c:pt idx="180">
                  <c:v>43041</c:v>
                </c:pt>
                <c:pt idx="181">
                  <c:v>43042</c:v>
                </c:pt>
                <c:pt idx="182">
                  <c:v>43043</c:v>
                </c:pt>
                <c:pt idx="183">
                  <c:v>43044</c:v>
                </c:pt>
                <c:pt idx="184">
                  <c:v>43045</c:v>
                </c:pt>
                <c:pt idx="185">
                  <c:v>43046</c:v>
                </c:pt>
                <c:pt idx="186">
                  <c:v>43047</c:v>
                </c:pt>
                <c:pt idx="187">
                  <c:v>43048</c:v>
                </c:pt>
                <c:pt idx="188">
                  <c:v>43049</c:v>
                </c:pt>
                <c:pt idx="189">
                  <c:v>43050</c:v>
                </c:pt>
                <c:pt idx="190">
                  <c:v>43051</c:v>
                </c:pt>
                <c:pt idx="191">
                  <c:v>43052</c:v>
                </c:pt>
                <c:pt idx="192">
                  <c:v>43053</c:v>
                </c:pt>
                <c:pt idx="193">
                  <c:v>43054</c:v>
                </c:pt>
                <c:pt idx="194">
                  <c:v>43055</c:v>
                </c:pt>
                <c:pt idx="195">
                  <c:v>43056</c:v>
                </c:pt>
                <c:pt idx="196">
                  <c:v>43057</c:v>
                </c:pt>
                <c:pt idx="197">
                  <c:v>43058</c:v>
                </c:pt>
                <c:pt idx="198">
                  <c:v>43059</c:v>
                </c:pt>
                <c:pt idx="199">
                  <c:v>43060</c:v>
                </c:pt>
                <c:pt idx="200">
                  <c:v>43061</c:v>
                </c:pt>
                <c:pt idx="201">
                  <c:v>43062</c:v>
                </c:pt>
                <c:pt idx="202">
                  <c:v>43063</c:v>
                </c:pt>
                <c:pt idx="203">
                  <c:v>43064</c:v>
                </c:pt>
                <c:pt idx="204">
                  <c:v>43065</c:v>
                </c:pt>
                <c:pt idx="205">
                  <c:v>43066</c:v>
                </c:pt>
                <c:pt idx="206">
                  <c:v>43067</c:v>
                </c:pt>
                <c:pt idx="207">
                  <c:v>43068</c:v>
                </c:pt>
                <c:pt idx="208">
                  <c:v>43069</c:v>
                </c:pt>
                <c:pt idx="209">
                  <c:v>43070</c:v>
                </c:pt>
                <c:pt idx="210">
                  <c:v>43071</c:v>
                </c:pt>
                <c:pt idx="211">
                  <c:v>43072</c:v>
                </c:pt>
                <c:pt idx="212">
                  <c:v>43073</c:v>
                </c:pt>
                <c:pt idx="213">
                  <c:v>43074</c:v>
                </c:pt>
                <c:pt idx="214">
                  <c:v>43075</c:v>
                </c:pt>
                <c:pt idx="215">
                  <c:v>43076</c:v>
                </c:pt>
                <c:pt idx="216">
                  <c:v>43077</c:v>
                </c:pt>
                <c:pt idx="217">
                  <c:v>43078</c:v>
                </c:pt>
                <c:pt idx="218">
                  <c:v>43079</c:v>
                </c:pt>
                <c:pt idx="219">
                  <c:v>43080</c:v>
                </c:pt>
                <c:pt idx="220">
                  <c:v>43081</c:v>
                </c:pt>
                <c:pt idx="221">
                  <c:v>43082</c:v>
                </c:pt>
                <c:pt idx="222">
                  <c:v>43083</c:v>
                </c:pt>
                <c:pt idx="223">
                  <c:v>43084</c:v>
                </c:pt>
                <c:pt idx="224">
                  <c:v>43085</c:v>
                </c:pt>
                <c:pt idx="225">
                  <c:v>43086</c:v>
                </c:pt>
                <c:pt idx="226">
                  <c:v>43087</c:v>
                </c:pt>
                <c:pt idx="227">
                  <c:v>43088</c:v>
                </c:pt>
                <c:pt idx="228">
                  <c:v>43089</c:v>
                </c:pt>
                <c:pt idx="229">
                  <c:v>43090</c:v>
                </c:pt>
                <c:pt idx="230">
                  <c:v>43091</c:v>
                </c:pt>
                <c:pt idx="231">
                  <c:v>43092</c:v>
                </c:pt>
                <c:pt idx="232">
                  <c:v>43093</c:v>
                </c:pt>
                <c:pt idx="233">
                  <c:v>43094</c:v>
                </c:pt>
                <c:pt idx="234">
                  <c:v>43095</c:v>
                </c:pt>
                <c:pt idx="235">
                  <c:v>43096</c:v>
                </c:pt>
                <c:pt idx="236">
                  <c:v>43097</c:v>
                </c:pt>
                <c:pt idx="237">
                  <c:v>43098</c:v>
                </c:pt>
                <c:pt idx="238">
                  <c:v>43099</c:v>
                </c:pt>
                <c:pt idx="239">
                  <c:v>43100</c:v>
                </c:pt>
                <c:pt idx="240">
                  <c:v>43101</c:v>
                </c:pt>
                <c:pt idx="241">
                  <c:v>43102</c:v>
                </c:pt>
                <c:pt idx="242">
                  <c:v>43103</c:v>
                </c:pt>
                <c:pt idx="243">
                  <c:v>43104</c:v>
                </c:pt>
                <c:pt idx="244">
                  <c:v>43105</c:v>
                </c:pt>
                <c:pt idx="245">
                  <c:v>43106</c:v>
                </c:pt>
                <c:pt idx="246">
                  <c:v>43107</c:v>
                </c:pt>
                <c:pt idx="247">
                  <c:v>43108</c:v>
                </c:pt>
                <c:pt idx="248">
                  <c:v>43109</c:v>
                </c:pt>
                <c:pt idx="249">
                  <c:v>43110</c:v>
                </c:pt>
                <c:pt idx="250">
                  <c:v>43111</c:v>
                </c:pt>
                <c:pt idx="251">
                  <c:v>43112</c:v>
                </c:pt>
                <c:pt idx="252">
                  <c:v>43113</c:v>
                </c:pt>
                <c:pt idx="253">
                  <c:v>43114</c:v>
                </c:pt>
                <c:pt idx="254">
                  <c:v>43115</c:v>
                </c:pt>
                <c:pt idx="255">
                  <c:v>43116</c:v>
                </c:pt>
                <c:pt idx="256">
                  <c:v>43117</c:v>
                </c:pt>
                <c:pt idx="257">
                  <c:v>43118</c:v>
                </c:pt>
                <c:pt idx="258">
                  <c:v>43119</c:v>
                </c:pt>
                <c:pt idx="259">
                  <c:v>43120</c:v>
                </c:pt>
                <c:pt idx="260">
                  <c:v>43121</c:v>
                </c:pt>
                <c:pt idx="261">
                  <c:v>43122</c:v>
                </c:pt>
                <c:pt idx="262">
                  <c:v>43123</c:v>
                </c:pt>
                <c:pt idx="263">
                  <c:v>43124</c:v>
                </c:pt>
                <c:pt idx="264">
                  <c:v>43125</c:v>
                </c:pt>
                <c:pt idx="265">
                  <c:v>43126</c:v>
                </c:pt>
                <c:pt idx="266">
                  <c:v>43127</c:v>
                </c:pt>
                <c:pt idx="267">
                  <c:v>43128</c:v>
                </c:pt>
                <c:pt idx="268">
                  <c:v>43129</c:v>
                </c:pt>
                <c:pt idx="269">
                  <c:v>43130</c:v>
                </c:pt>
                <c:pt idx="270">
                  <c:v>43131</c:v>
                </c:pt>
                <c:pt idx="271">
                  <c:v>43132</c:v>
                </c:pt>
                <c:pt idx="272">
                  <c:v>43133</c:v>
                </c:pt>
                <c:pt idx="273">
                  <c:v>43134</c:v>
                </c:pt>
                <c:pt idx="274">
                  <c:v>43135</c:v>
                </c:pt>
                <c:pt idx="275">
                  <c:v>43136</c:v>
                </c:pt>
                <c:pt idx="276">
                  <c:v>43137</c:v>
                </c:pt>
                <c:pt idx="277">
                  <c:v>43138</c:v>
                </c:pt>
                <c:pt idx="278">
                  <c:v>43139</c:v>
                </c:pt>
                <c:pt idx="279">
                  <c:v>43140</c:v>
                </c:pt>
                <c:pt idx="280">
                  <c:v>43141</c:v>
                </c:pt>
                <c:pt idx="281">
                  <c:v>43142</c:v>
                </c:pt>
                <c:pt idx="282">
                  <c:v>43143</c:v>
                </c:pt>
                <c:pt idx="283">
                  <c:v>43144</c:v>
                </c:pt>
                <c:pt idx="284">
                  <c:v>43145</c:v>
                </c:pt>
                <c:pt idx="285">
                  <c:v>43146</c:v>
                </c:pt>
                <c:pt idx="286">
                  <c:v>43147</c:v>
                </c:pt>
                <c:pt idx="287">
                  <c:v>43148</c:v>
                </c:pt>
                <c:pt idx="288">
                  <c:v>43149</c:v>
                </c:pt>
                <c:pt idx="289">
                  <c:v>43150</c:v>
                </c:pt>
                <c:pt idx="290">
                  <c:v>43151</c:v>
                </c:pt>
                <c:pt idx="291">
                  <c:v>43152</c:v>
                </c:pt>
                <c:pt idx="292">
                  <c:v>43153</c:v>
                </c:pt>
                <c:pt idx="293">
                  <c:v>43154</c:v>
                </c:pt>
                <c:pt idx="294">
                  <c:v>43155</c:v>
                </c:pt>
                <c:pt idx="295">
                  <c:v>43156</c:v>
                </c:pt>
                <c:pt idx="296">
                  <c:v>43157</c:v>
                </c:pt>
                <c:pt idx="297">
                  <c:v>43158</c:v>
                </c:pt>
                <c:pt idx="298">
                  <c:v>43159</c:v>
                </c:pt>
                <c:pt idx="299">
                  <c:v>43160</c:v>
                </c:pt>
                <c:pt idx="300">
                  <c:v>43161</c:v>
                </c:pt>
                <c:pt idx="301">
                  <c:v>43162</c:v>
                </c:pt>
                <c:pt idx="302">
                  <c:v>43163</c:v>
                </c:pt>
                <c:pt idx="303">
                  <c:v>43164</c:v>
                </c:pt>
                <c:pt idx="304">
                  <c:v>43165</c:v>
                </c:pt>
                <c:pt idx="305">
                  <c:v>43166</c:v>
                </c:pt>
                <c:pt idx="306">
                  <c:v>43167</c:v>
                </c:pt>
                <c:pt idx="307">
                  <c:v>43168</c:v>
                </c:pt>
                <c:pt idx="308">
                  <c:v>43169</c:v>
                </c:pt>
                <c:pt idx="309">
                  <c:v>43170</c:v>
                </c:pt>
                <c:pt idx="310">
                  <c:v>43171</c:v>
                </c:pt>
                <c:pt idx="311">
                  <c:v>43172</c:v>
                </c:pt>
                <c:pt idx="312">
                  <c:v>43173</c:v>
                </c:pt>
                <c:pt idx="313">
                  <c:v>43174</c:v>
                </c:pt>
                <c:pt idx="314">
                  <c:v>43175</c:v>
                </c:pt>
                <c:pt idx="315">
                  <c:v>43176</c:v>
                </c:pt>
                <c:pt idx="316">
                  <c:v>43177</c:v>
                </c:pt>
                <c:pt idx="317">
                  <c:v>43178</c:v>
                </c:pt>
                <c:pt idx="318">
                  <c:v>43179</c:v>
                </c:pt>
                <c:pt idx="319">
                  <c:v>43180</c:v>
                </c:pt>
                <c:pt idx="320">
                  <c:v>43181</c:v>
                </c:pt>
                <c:pt idx="321">
                  <c:v>43182</c:v>
                </c:pt>
                <c:pt idx="322">
                  <c:v>43183</c:v>
                </c:pt>
                <c:pt idx="323">
                  <c:v>43184</c:v>
                </c:pt>
                <c:pt idx="324">
                  <c:v>43185</c:v>
                </c:pt>
                <c:pt idx="325">
                  <c:v>43186</c:v>
                </c:pt>
                <c:pt idx="326">
                  <c:v>43187</c:v>
                </c:pt>
                <c:pt idx="327">
                  <c:v>43188</c:v>
                </c:pt>
                <c:pt idx="328">
                  <c:v>43189</c:v>
                </c:pt>
                <c:pt idx="329">
                  <c:v>43190</c:v>
                </c:pt>
                <c:pt idx="330">
                  <c:v>43191</c:v>
                </c:pt>
                <c:pt idx="331">
                  <c:v>43192</c:v>
                </c:pt>
                <c:pt idx="332">
                  <c:v>43193</c:v>
                </c:pt>
                <c:pt idx="333">
                  <c:v>43194</c:v>
                </c:pt>
                <c:pt idx="334">
                  <c:v>43195</c:v>
                </c:pt>
                <c:pt idx="335">
                  <c:v>43196</c:v>
                </c:pt>
                <c:pt idx="336">
                  <c:v>43197</c:v>
                </c:pt>
                <c:pt idx="337">
                  <c:v>43198</c:v>
                </c:pt>
                <c:pt idx="338">
                  <c:v>43199</c:v>
                </c:pt>
                <c:pt idx="339">
                  <c:v>43200</c:v>
                </c:pt>
                <c:pt idx="340">
                  <c:v>43201</c:v>
                </c:pt>
                <c:pt idx="341">
                  <c:v>43202</c:v>
                </c:pt>
                <c:pt idx="342">
                  <c:v>43203</c:v>
                </c:pt>
                <c:pt idx="343">
                  <c:v>43204</c:v>
                </c:pt>
                <c:pt idx="344">
                  <c:v>43205</c:v>
                </c:pt>
                <c:pt idx="345">
                  <c:v>43206</c:v>
                </c:pt>
                <c:pt idx="346">
                  <c:v>43207</c:v>
                </c:pt>
                <c:pt idx="347">
                  <c:v>43208</c:v>
                </c:pt>
                <c:pt idx="348">
                  <c:v>43209</c:v>
                </c:pt>
                <c:pt idx="349">
                  <c:v>43210</c:v>
                </c:pt>
                <c:pt idx="350">
                  <c:v>43211</c:v>
                </c:pt>
                <c:pt idx="351">
                  <c:v>43212</c:v>
                </c:pt>
                <c:pt idx="352">
                  <c:v>43213</c:v>
                </c:pt>
                <c:pt idx="353">
                  <c:v>43214</c:v>
                </c:pt>
                <c:pt idx="354">
                  <c:v>43215</c:v>
                </c:pt>
                <c:pt idx="355">
                  <c:v>43216</c:v>
                </c:pt>
                <c:pt idx="356">
                  <c:v>43217</c:v>
                </c:pt>
                <c:pt idx="357">
                  <c:v>43218</c:v>
                </c:pt>
                <c:pt idx="358">
                  <c:v>43219</c:v>
                </c:pt>
                <c:pt idx="359">
                  <c:v>43220</c:v>
                </c:pt>
                <c:pt idx="360">
                  <c:v>43221</c:v>
                </c:pt>
                <c:pt idx="361">
                  <c:v>43222</c:v>
                </c:pt>
                <c:pt idx="362">
                  <c:v>43223</c:v>
                </c:pt>
                <c:pt idx="363">
                  <c:v>43224</c:v>
                </c:pt>
                <c:pt idx="364">
                  <c:v>43225</c:v>
                </c:pt>
                <c:pt idx="365">
                  <c:v>43226</c:v>
                </c:pt>
                <c:pt idx="366">
                  <c:v>42860</c:v>
                </c:pt>
              </c:numCache>
            </c:numRef>
          </c:cat>
          <c:val>
            <c:numRef>
              <c:f>eplus_yld_12m!$E$2:$E$500</c:f>
              <c:numCache>
                <c:formatCode>General</c:formatCode>
                <c:ptCount val="499"/>
                <c:pt idx="0">
                  <c:v>100.04159820932097</c:v>
                </c:pt>
                <c:pt idx="1">
                  <c:v>100.05836070871474</c:v>
                </c:pt>
                <c:pt idx="2">
                  <c:v>100.07381528540137</c:v>
                </c:pt>
                <c:pt idx="3">
                  <c:v>99.975641021564527</c:v>
                </c:pt>
                <c:pt idx="4">
                  <c:v>99.805456166710414</c:v>
                </c:pt>
                <c:pt idx="5">
                  <c:v>99.820287008228448</c:v>
                </c:pt>
                <c:pt idx="6">
                  <c:v>99.632794820762768</c:v>
                </c:pt>
                <c:pt idx="7">
                  <c:v>99.67716652466892</c:v>
                </c:pt>
                <c:pt idx="8">
                  <c:v>99.689389912669981</c:v>
                </c:pt>
                <c:pt idx="9">
                  <c:v>99.700956879309501</c:v>
                </c:pt>
                <c:pt idx="10">
                  <c:v>99.848896995920569</c:v>
                </c:pt>
                <c:pt idx="11">
                  <c:v>99.947526948156266</c:v>
                </c:pt>
                <c:pt idx="12">
                  <c:v>100.19061807078772</c:v>
                </c:pt>
                <c:pt idx="13">
                  <c:v>100.29806670908114</c:v>
                </c:pt>
                <c:pt idx="14">
                  <c:v>100.22941115571227</c:v>
                </c:pt>
                <c:pt idx="15">
                  <c:v>100.24550370369717</c:v>
                </c:pt>
                <c:pt idx="16">
                  <c:v>100.25833356263666</c:v>
                </c:pt>
                <c:pt idx="17">
                  <c:v>100.11659804248734</c:v>
                </c:pt>
                <c:pt idx="18">
                  <c:v>100.1000499235338</c:v>
                </c:pt>
                <c:pt idx="19">
                  <c:v>100.15862182254982</c:v>
                </c:pt>
                <c:pt idx="20">
                  <c:v>99.961228812353554</c:v>
                </c:pt>
                <c:pt idx="21">
                  <c:v>99.797449554805397</c:v>
                </c:pt>
                <c:pt idx="22">
                  <c:v>99.810977804863768</c:v>
                </c:pt>
                <c:pt idx="23">
                  <c:v>99.824505088802781</c:v>
                </c:pt>
                <c:pt idx="24">
                  <c:v>99.817065672684123</c:v>
                </c:pt>
                <c:pt idx="25">
                  <c:v>100.06482176341017</c:v>
                </c:pt>
                <c:pt idx="26">
                  <c:v>100.32179326513048</c:v>
                </c:pt>
                <c:pt idx="27">
                  <c:v>100.39426067092951</c:v>
                </c:pt>
                <c:pt idx="28">
                  <c:v>100.55985751737229</c:v>
                </c:pt>
                <c:pt idx="29">
                  <c:v>100.5742729897015</c:v>
                </c:pt>
                <c:pt idx="30">
                  <c:v>100.58738657848312</c:v>
                </c:pt>
                <c:pt idx="31">
                  <c:v>100.6102556132923</c:v>
                </c:pt>
                <c:pt idx="32">
                  <c:v>100.64352600902011</c:v>
                </c:pt>
                <c:pt idx="33">
                  <c:v>100.63843194888101</c:v>
                </c:pt>
                <c:pt idx="34">
                  <c:v>100.55466640470412</c:v>
                </c:pt>
                <c:pt idx="35">
                  <c:v>100.52613593869039</c:v>
                </c:pt>
                <c:pt idx="36">
                  <c:v>100.53860500666651</c:v>
                </c:pt>
                <c:pt idx="37">
                  <c:v>100.55042255419168</c:v>
                </c:pt>
                <c:pt idx="38">
                  <c:v>100.45549794293117</c:v>
                </c:pt>
                <c:pt idx="39">
                  <c:v>100.48426143916851</c:v>
                </c:pt>
                <c:pt idx="40">
                  <c:v>100.57229247366911</c:v>
                </c:pt>
                <c:pt idx="41">
                  <c:v>100.50080490267923</c:v>
                </c:pt>
                <c:pt idx="42">
                  <c:v>100.40776611616926</c:v>
                </c:pt>
                <c:pt idx="43">
                  <c:v>100.42089894493232</c:v>
                </c:pt>
                <c:pt idx="44">
                  <c:v>100.43272727448529</c:v>
                </c:pt>
                <c:pt idx="45">
                  <c:v>100.44259955865202</c:v>
                </c:pt>
                <c:pt idx="46">
                  <c:v>100.37620983017364</c:v>
                </c:pt>
                <c:pt idx="47">
                  <c:v>100.2321490812032</c:v>
                </c:pt>
                <c:pt idx="48">
                  <c:v>100.37660097402885</c:v>
                </c:pt>
                <c:pt idx="49">
                  <c:v>100.21882765554606</c:v>
                </c:pt>
                <c:pt idx="50">
                  <c:v>100.2319793125131</c:v>
                </c:pt>
                <c:pt idx="51">
                  <c:v>100.24643692516031</c:v>
                </c:pt>
                <c:pt idx="52">
                  <c:v>100.25566738117725</c:v>
                </c:pt>
                <c:pt idx="53">
                  <c:v>100.08917481286443</c:v>
                </c:pt>
                <c:pt idx="54">
                  <c:v>100.07681886719999</c:v>
                </c:pt>
                <c:pt idx="55">
                  <c:v>100.01152660710443</c:v>
                </c:pt>
                <c:pt idx="56">
                  <c:v>100.0365665689785</c:v>
                </c:pt>
                <c:pt idx="57">
                  <c:v>100.04981586395471</c:v>
                </c:pt>
                <c:pt idx="58">
                  <c:v>100.06044538638884</c:v>
                </c:pt>
                <c:pt idx="59">
                  <c:v>99.975489710888453</c:v>
                </c:pt>
                <c:pt idx="60">
                  <c:v>99.877349214474691</c:v>
                </c:pt>
                <c:pt idx="61">
                  <c:v>99.868968467100885</c:v>
                </c:pt>
                <c:pt idx="62">
                  <c:v>99.715604436607023</c:v>
                </c:pt>
                <c:pt idx="63">
                  <c:v>99.680920062251417</c:v>
                </c:pt>
                <c:pt idx="64">
                  <c:v>99.691575406647715</c:v>
                </c:pt>
                <c:pt idx="65">
                  <c:v>99.703544863125131</c:v>
                </c:pt>
                <c:pt idx="66">
                  <c:v>99.772691856819776</c:v>
                </c:pt>
                <c:pt idx="67">
                  <c:v>99.90287828163072</c:v>
                </c:pt>
                <c:pt idx="68">
                  <c:v>99.994859874514859</c:v>
                </c:pt>
                <c:pt idx="69">
                  <c:v>99.667314930544833</c:v>
                </c:pt>
                <c:pt idx="70">
                  <c:v>99.383381340638977</c:v>
                </c:pt>
                <c:pt idx="71">
                  <c:v>99.38218777518378</c:v>
                </c:pt>
                <c:pt idx="72">
                  <c:v>99.380334426929394</c:v>
                </c:pt>
                <c:pt idx="73">
                  <c:v>99.206339847835665</c:v>
                </c:pt>
                <c:pt idx="74">
                  <c:v>99.126510576121262</c:v>
                </c:pt>
                <c:pt idx="75">
                  <c:v>99.059836335348848</c:v>
                </c:pt>
                <c:pt idx="76">
                  <c:v>99.069212473501992</c:v>
                </c:pt>
                <c:pt idx="77">
                  <c:v>99.222179025146232</c:v>
                </c:pt>
                <c:pt idx="78">
                  <c:v>99.22097542052272</c:v>
                </c:pt>
                <c:pt idx="79">
                  <c:v>99.220432295964926</c:v>
                </c:pt>
                <c:pt idx="80">
                  <c:v>99.376496197077444</c:v>
                </c:pt>
                <c:pt idx="81">
                  <c:v>99.276991785179277</c:v>
                </c:pt>
                <c:pt idx="82">
                  <c:v>99.400619308417717</c:v>
                </c:pt>
                <c:pt idx="83">
                  <c:v>99.441643738370416</c:v>
                </c:pt>
                <c:pt idx="84">
                  <c:v>99.612564051013251</c:v>
                </c:pt>
                <c:pt idx="85">
                  <c:v>99.612037856848346</c:v>
                </c:pt>
                <c:pt idx="86">
                  <c:v>99.60970155723713</c:v>
                </c:pt>
                <c:pt idx="87">
                  <c:v>99.708101667525355</c:v>
                </c:pt>
                <c:pt idx="88">
                  <c:v>99.730108731972678</c:v>
                </c:pt>
                <c:pt idx="89">
                  <c:v>99.796175987901549</c:v>
                </c:pt>
                <c:pt idx="90">
                  <c:v>99.642681136997538</c:v>
                </c:pt>
                <c:pt idx="91">
                  <c:v>99.498155188198169</c:v>
                </c:pt>
                <c:pt idx="92">
                  <c:v>99.496470106776201</c:v>
                </c:pt>
                <c:pt idx="93">
                  <c:v>99.495444047262907</c:v>
                </c:pt>
                <c:pt idx="94">
                  <c:v>99.344090417147143</c:v>
                </c:pt>
                <c:pt idx="95">
                  <c:v>99.362867593008005</c:v>
                </c:pt>
                <c:pt idx="96">
                  <c:v>99.299771040172942</c:v>
                </c:pt>
                <c:pt idx="97">
                  <c:v>99.284199955472701</c:v>
                </c:pt>
                <c:pt idx="98">
                  <c:v>99.450350865897917</c:v>
                </c:pt>
                <c:pt idx="99">
                  <c:v>99.462516632400039</c:v>
                </c:pt>
                <c:pt idx="100">
                  <c:v>99.476001046419555</c:v>
                </c:pt>
                <c:pt idx="101">
                  <c:v>99.505975137745978</c:v>
                </c:pt>
                <c:pt idx="102">
                  <c:v>99.518137058208268</c:v>
                </c:pt>
                <c:pt idx="103">
                  <c:v>99.501944227411556</c:v>
                </c:pt>
                <c:pt idx="104">
                  <c:v>99.563571573788934</c:v>
                </c:pt>
                <c:pt idx="105">
                  <c:v>99.628460973458971</c:v>
                </c:pt>
                <c:pt idx="106">
                  <c:v>99.641272372184716</c:v>
                </c:pt>
                <c:pt idx="107">
                  <c:v>99.65342424138511</c:v>
                </c:pt>
                <c:pt idx="108">
                  <c:v>99.786103329374953</c:v>
                </c:pt>
                <c:pt idx="109">
                  <c:v>99.736412711460659</c:v>
                </c:pt>
                <c:pt idx="110">
                  <c:v>99.588633183252782</c:v>
                </c:pt>
                <c:pt idx="111">
                  <c:v>99.425464379150057</c:v>
                </c:pt>
                <c:pt idx="112">
                  <c:v>99.397362721466038</c:v>
                </c:pt>
                <c:pt idx="113">
                  <c:v>99.410858245364267</c:v>
                </c:pt>
                <c:pt idx="114">
                  <c:v>99.424352787975707</c:v>
                </c:pt>
                <c:pt idx="115">
                  <c:v>99.289278543147887</c:v>
                </c:pt>
                <c:pt idx="116">
                  <c:v>99.380148390401061</c:v>
                </c:pt>
                <c:pt idx="117">
                  <c:v>99.457674497871693</c:v>
                </c:pt>
                <c:pt idx="118">
                  <c:v>99.476392267024266</c:v>
                </c:pt>
                <c:pt idx="119">
                  <c:v>99.581574665781417</c:v>
                </c:pt>
                <c:pt idx="120">
                  <c:v>99.594340269959787</c:v>
                </c:pt>
                <c:pt idx="121">
                  <c:v>99.607764343858747</c:v>
                </c:pt>
                <c:pt idx="122">
                  <c:v>99.642942908301265</c:v>
                </c:pt>
                <c:pt idx="123">
                  <c:v>99.694587664057153</c:v>
                </c:pt>
                <c:pt idx="124">
                  <c:v>99.715907651737979</c:v>
                </c:pt>
                <c:pt idx="125">
                  <c:v>99.696390407869828</c:v>
                </c:pt>
                <c:pt idx="126">
                  <c:v>99.845511911278209</c:v>
                </c:pt>
                <c:pt idx="127">
                  <c:v>99.858255472417426</c:v>
                </c:pt>
                <c:pt idx="128">
                  <c:v>99.871655933129091</c:v>
                </c:pt>
                <c:pt idx="129">
                  <c:v>99.792979839616706</c:v>
                </c:pt>
                <c:pt idx="130">
                  <c:v>99.645122600975753</c:v>
                </c:pt>
                <c:pt idx="131">
                  <c:v>99.655249066096317</c:v>
                </c:pt>
                <c:pt idx="132">
                  <c:v>99.590887937467315</c:v>
                </c:pt>
                <c:pt idx="133">
                  <c:v>99.430834872613318</c:v>
                </c:pt>
                <c:pt idx="134">
                  <c:v>99.443619018430837</c:v>
                </c:pt>
                <c:pt idx="135">
                  <c:v>99.457062954700746</c:v>
                </c:pt>
                <c:pt idx="136">
                  <c:v>99.470505909048484</c:v>
                </c:pt>
                <c:pt idx="137">
                  <c:v>99.483947881668598</c:v>
                </c:pt>
                <c:pt idx="138">
                  <c:v>99.409549071418866</c:v>
                </c:pt>
                <c:pt idx="139">
                  <c:v>99.485128475105526</c:v>
                </c:pt>
                <c:pt idx="140">
                  <c:v>99.746253390293774</c:v>
                </c:pt>
                <c:pt idx="141">
                  <c:v>99.758351931665302</c:v>
                </c:pt>
                <c:pt idx="142">
                  <c:v>99.771767210610918</c:v>
                </c:pt>
                <c:pt idx="143">
                  <c:v>99.772666775554612</c:v>
                </c:pt>
                <c:pt idx="144">
                  <c:v>99.832189481920352</c:v>
                </c:pt>
                <c:pt idx="145">
                  <c:v>99.799516173624795</c:v>
                </c:pt>
                <c:pt idx="146">
                  <c:v>99.766829750710457</c:v>
                </c:pt>
                <c:pt idx="147">
                  <c:v>99.486477609135306</c:v>
                </c:pt>
                <c:pt idx="148">
                  <c:v>99.500637404917029</c:v>
                </c:pt>
                <c:pt idx="149">
                  <c:v>99.513474878733888</c:v>
                </c:pt>
                <c:pt idx="150">
                  <c:v>99.366460515400192</c:v>
                </c:pt>
                <c:pt idx="151">
                  <c:v>99.148434478732327</c:v>
                </c:pt>
                <c:pt idx="152">
                  <c:v>98.927264191321598</c:v>
                </c:pt>
                <c:pt idx="153">
                  <c:v>98.565378014959734</c:v>
                </c:pt>
                <c:pt idx="154">
                  <c:v>98.070764453663983</c:v>
                </c:pt>
                <c:pt idx="155">
                  <c:v>98.085077930386447</c:v>
                </c:pt>
                <c:pt idx="156">
                  <c:v>98.100060462447971</c:v>
                </c:pt>
                <c:pt idx="157">
                  <c:v>98.113701438541369</c:v>
                </c:pt>
                <c:pt idx="158">
                  <c:v>97.772208732116468</c:v>
                </c:pt>
                <c:pt idx="159">
                  <c:v>97.706542436180925</c:v>
                </c:pt>
                <c:pt idx="160">
                  <c:v>97.523079762187535</c:v>
                </c:pt>
                <c:pt idx="161">
                  <c:v>97.476784750001869</c:v>
                </c:pt>
                <c:pt idx="162">
                  <c:v>97.478350455291462</c:v>
                </c:pt>
                <c:pt idx="163">
                  <c:v>97.481939496387355</c:v>
                </c:pt>
                <c:pt idx="164">
                  <c:v>97.421454940526388</c:v>
                </c:pt>
                <c:pt idx="165">
                  <c:v>97.326509845618176</c:v>
                </c:pt>
                <c:pt idx="166">
                  <c:v>97.280107668955026</c:v>
                </c:pt>
                <c:pt idx="167">
                  <c:v>97.512825076007459</c:v>
                </c:pt>
                <c:pt idx="168">
                  <c:v>97.803012764357732</c:v>
                </c:pt>
                <c:pt idx="169">
                  <c:v>97.80592938284947</c:v>
                </c:pt>
                <c:pt idx="170">
                  <c:v>97.808845996819642</c:v>
                </c:pt>
                <c:pt idx="171">
                  <c:v>98.418295952153599</c:v>
                </c:pt>
                <c:pt idx="172">
                  <c:v>98.597001124653417</c:v>
                </c:pt>
                <c:pt idx="173">
                  <c:v>98.221612737591556</c:v>
                </c:pt>
                <c:pt idx="174">
                  <c:v>98.426127375938776</c:v>
                </c:pt>
                <c:pt idx="175">
                  <c:v>98.429048008048582</c:v>
                </c:pt>
                <c:pt idx="176">
                  <c:v>98.432637049144461</c:v>
                </c:pt>
                <c:pt idx="177">
                  <c:v>98.43555767678653</c:v>
                </c:pt>
                <c:pt idx="178">
                  <c:v>98.617586905695035</c:v>
                </c:pt>
                <c:pt idx="179">
                  <c:v>98.665852767740617</c:v>
                </c:pt>
                <c:pt idx="180">
                  <c:v>98.668747482584166</c:v>
                </c:pt>
                <c:pt idx="181">
                  <c:v>98.745004871384438</c:v>
                </c:pt>
                <c:pt idx="182">
                  <c:v>98.693251251539522</c:v>
                </c:pt>
                <c:pt idx="183">
                  <c:v>98.696812895375146</c:v>
                </c:pt>
                <c:pt idx="184">
                  <c:v>98.699040903586678</c:v>
                </c:pt>
                <c:pt idx="185">
                  <c:v>98.72260734857457</c:v>
                </c:pt>
                <c:pt idx="186">
                  <c:v>98.714168512390984</c:v>
                </c:pt>
                <c:pt idx="187">
                  <c:v>98.863086746614385</c:v>
                </c:pt>
                <c:pt idx="188">
                  <c:v>99.01512302991631</c:v>
                </c:pt>
                <c:pt idx="189">
                  <c:v>99.016690218337985</c:v>
                </c:pt>
                <c:pt idx="190">
                  <c:v>99.042191309299511</c:v>
                </c:pt>
                <c:pt idx="191">
                  <c:v>99.067687587923459</c:v>
                </c:pt>
                <c:pt idx="192">
                  <c:v>99.128399683646364</c:v>
                </c:pt>
                <c:pt idx="193">
                  <c:v>99.189743296850878</c:v>
                </c:pt>
                <c:pt idx="194">
                  <c:v>99.146840549004963</c:v>
                </c:pt>
                <c:pt idx="195">
                  <c:v>98.961137800445684</c:v>
                </c:pt>
                <c:pt idx="196">
                  <c:v>98.847598750991978</c:v>
                </c:pt>
                <c:pt idx="197">
                  <c:v>98.87247639115057</c:v>
                </c:pt>
                <c:pt idx="198">
                  <c:v>98.898015471484712</c:v>
                </c:pt>
                <c:pt idx="199">
                  <c:v>98.979479996395241</c:v>
                </c:pt>
                <c:pt idx="200">
                  <c:v>98.700281367716499</c:v>
                </c:pt>
                <c:pt idx="201">
                  <c:v>98.402266406423976</c:v>
                </c:pt>
                <c:pt idx="202">
                  <c:v>98.227814705950991</c:v>
                </c:pt>
                <c:pt idx="203">
                  <c:v>98.299758835825202</c:v>
                </c:pt>
                <c:pt idx="204">
                  <c:v>98.324089189923896</c:v>
                </c:pt>
                <c:pt idx="205">
                  <c:v>98.35042468937327</c:v>
                </c:pt>
                <c:pt idx="206">
                  <c:v>98.460463350245206</c:v>
                </c:pt>
                <c:pt idx="207">
                  <c:v>98.295448462342293</c:v>
                </c:pt>
                <c:pt idx="208">
                  <c:v>98.345970787387245</c:v>
                </c:pt>
                <c:pt idx="209">
                  <c:v>98.28194046240661</c:v>
                </c:pt>
                <c:pt idx="210">
                  <c:v>98.249364841568649</c:v>
                </c:pt>
                <c:pt idx="211">
                  <c:v>98.274436191088071</c:v>
                </c:pt>
                <c:pt idx="212">
                  <c:v>98.300843582776409</c:v>
                </c:pt>
                <c:pt idx="213">
                  <c:v>98.220688843778944</c:v>
                </c:pt>
                <c:pt idx="214">
                  <c:v>98.122354124788259</c:v>
                </c:pt>
                <c:pt idx="215">
                  <c:v>98.099785346377814</c:v>
                </c:pt>
                <c:pt idx="216">
                  <c:v>97.974456183659427</c:v>
                </c:pt>
                <c:pt idx="217">
                  <c:v>98.000263761698747</c:v>
                </c:pt>
                <c:pt idx="218">
                  <c:v>98.02606641636379</c:v>
                </c:pt>
                <c:pt idx="219">
                  <c:v>98.037748780217683</c:v>
                </c:pt>
                <c:pt idx="220">
                  <c:v>97.783948526143121</c:v>
                </c:pt>
                <c:pt idx="221">
                  <c:v>97.693227248954457</c:v>
                </c:pt>
                <c:pt idx="222">
                  <c:v>97.568018558991341</c:v>
                </c:pt>
                <c:pt idx="223">
                  <c:v>97.462228762542807</c:v>
                </c:pt>
                <c:pt idx="224">
                  <c:v>97.490184326042652</c:v>
                </c:pt>
                <c:pt idx="225">
                  <c:v>97.501911831950494</c:v>
                </c:pt>
                <c:pt idx="226">
                  <c:v>97.513638680017536</c:v>
                </c:pt>
                <c:pt idx="227">
                  <c:v>97.986269107695847</c:v>
                </c:pt>
                <c:pt idx="228">
                  <c:v>98.057823984409652</c:v>
                </c:pt>
                <c:pt idx="229">
                  <c:v>98.426445632324501</c:v>
                </c:pt>
                <c:pt idx="230">
                  <c:v>98.773647143148324</c:v>
                </c:pt>
                <c:pt idx="231">
                  <c:v>98.898741878939433</c:v>
                </c:pt>
                <c:pt idx="232">
                  <c:v>98.90902485063161</c:v>
                </c:pt>
                <c:pt idx="233">
                  <c:v>98.920640595714517</c:v>
                </c:pt>
                <c:pt idx="234">
                  <c:v>98.931589145385459</c:v>
                </c:pt>
                <c:pt idx="235">
                  <c:v>99.043179669960949</c:v>
                </c:pt>
                <c:pt idx="236">
                  <c:v>99.164640553649278</c:v>
                </c:pt>
                <c:pt idx="237">
                  <c:v>99.172247016943089</c:v>
                </c:pt>
                <c:pt idx="238">
                  <c:v>99.270955255460166</c:v>
                </c:pt>
                <c:pt idx="239">
                  <c:v>99.281879498551788</c:v>
                </c:pt>
                <c:pt idx="240">
                  <c:v>99.292138910302853</c:v>
                </c:pt>
                <c:pt idx="241">
                  <c:v>99.303062134005586</c:v>
                </c:pt>
                <c:pt idx="242">
                  <c:v>99.342545625152752</c:v>
                </c:pt>
                <c:pt idx="243">
                  <c:v>99.352137762333697</c:v>
                </c:pt>
                <c:pt idx="244">
                  <c:v>99.154584361559344</c:v>
                </c:pt>
                <c:pt idx="245">
                  <c:v>99.299902282126311</c:v>
                </c:pt>
                <c:pt idx="246">
                  <c:v>99.310826282480505</c:v>
                </c:pt>
                <c:pt idx="247">
                  <c:v>99.321749748869067</c:v>
                </c:pt>
                <c:pt idx="248">
                  <c:v>99.314738559378185</c:v>
                </c:pt>
                <c:pt idx="249">
                  <c:v>99.344926891313918</c:v>
                </c:pt>
                <c:pt idx="250">
                  <c:v>98.983940972040998</c:v>
                </c:pt>
                <c:pt idx="251">
                  <c:v>99.026217376003117</c:v>
                </c:pt>
                <c:pt idx="252">
                  <c:v>99.036496749782117</c:v>
                </c:pt>
                <c:pt idx="253">
                  <c:v>99.047441928794129</c:v>
                </c:pt>
                <c:pt idx="254">
                  <c:v>99.058386570741121</c:v>
                </c:pt>
                <c:pt idx="255">
                  <c:v>99.161259584012683</c:v>
                </c:pt>
                <c:pt idx="256">
                  <c:v>99.170865441062489</c:v>
                </c:pt>
                <c:pt idx="257">
                  <c:v>99.366131798899062</c:v>
                </c:pt>
                <c:pt idx="258">
                  <c:v>99.307979663511546</c:v>
                </c:pt>
                <c:pt idx="259">
                  <c:v>99.268397835115067</c:v>
                </c:pt>
                <c:pt idx="260">
                  <c:v>99.278663032812744</c:v>
                </c:pt>
                <c:pt idx="261">
                  <c:v>99.291587115404141</c:v>
                </c:pt>
                <c:pt idx="262">
                  <c:v>99.27592522791673</c:v>
                </c:pt>
                <c:pt idx="263">
                  <c:v>99.418505356191034</c:v>
                </c:pt>
                <c:pt idx="264">
                  <c:v>99.59608333709474</c:v>
                </c:pt>
                <c:pt idx="265">
                  <c:v>99.849583781548858</c:v>
                </c:pt>
                <c:pt idx="266">
                  <c:v>99.84262149768243</c:v>
                </c:pt>
                <c:pt idx="267">
                  <c:v>99.854172817114573</c:v>
                </c:pt>
                <c:pt idx="268">
                  <c:v>99.864401131722857</c:v>
                </c:pt>
                <c:pt idx="269">
                  <c:v>99.710665319214584</c:v>
                </c:pt>
                <c:pt idx="270">
                  <c:v>99.628722793320165</c:v>
                </c:pt>
                <c:pt idx="271">
                  <c:v>99.616958949111563</c:v>
                </c:pt>
                <c:pt idx="272">
                  <c:v>99.573375834466759</c:v>
                </c:pt>
                <c:pt idx="273">
                  <c:v>99.423000970642732</c:v>
                </c:pt>
                <c:pt idx="274">
                  <c:v>99.434450667118355</c:v>
                </c:pt>
                <c:pt idx="275">
                  <c:v>99.445235594294672</c:v>
                </c:pt>
                <c:pt idx="276">
                  <c:v>99.450043217524183</c:v>
                </c:pt>
                <c:pt idx="277">
                  <c:v>99.590322483637493</c:v>
                </c:pt>
                <c:pt idx="278">
                  <c:v>99.497642350571155</c:v>
                </c:pt>
                <c:pt idx="279">
                  <c:v>99.773283028280787</c:v>
                </c:pt>
                <c:pt idx="280">
                  <c:v>99.811848805936677</c:v>
                </c:pt>
                <c:pt idx="281">
                  <c:v>99.834519702577836</c:v>
                </c:pt>
                <c:pt idx="282">
                  <c:v>99.856525269838599</c:v>
                </c:pt>
                <c:pt idx="283">
                  <c:v>99.828913074300672</c:v>
                </c:pt>
                <c:pt idx="284">
                  <c:v>99.949518764618034</c:v>
                </c:pt>
                <c:pt idx="285">
                  <c:v>100.01116234526842</c:v>
                </c:pt>
                <c:pt idx="286">
                  <c:v>99.927446320918847</c:v>
                </c:pt>
                <c:pt idx="287">
                  <c:v>99.882661948363051</c:v>
                </c:pt>
                <c:pt idx="288">
                  <c:v>99.903339556246365</c:v>
                </c:pt>
                <c:pt idx="289">
                  <c:v>99.924675560663843</c:v>
                </c:pt>
                <c:pt idx="290">
                  <c:v>100.00022970590528</c:v>
                </c:pt>
                <c:pt idx="291">
                  <c:v>100.11207371217868</c:v>
                </c:pt>
                <c:pt idx="292">
                  <c:v>100.19409842676608</c:v>
                </c:pt>
                <c:pt idx="293">
                  <c:v>100.2575947626915</c:v>
                </c:pt>
                <c:pt idx="294">
                  <c:v>100.20570724378098</c:v>
                </c:pt>
                <c:pt idx="295">
                  <c:v>100.22699308107363</c:v>
                </c:pt>
                <c:pt idx="296">
                  <c:v>100.24827574825719</c:v>
                </c:pt>
                <c:pt idx="297">
                  <c:v>100.25439224418581</c:v>
                </c:pt>
                <c:pt idx="298">
                  <c:v>100.16656731453747</c:v>
                </c:pt>
                <c:pt idx="299">
                  <c:v>100.21788660277743</c:v>
                </c:pt>
                <c:pt idx="300">
                  <c:v>100.33975200305744</c:v>
                </c:pt>
                <c:pt idx="301">
                  <c:v>100.41404705836126</c:v>
                </c:pt>
                <c:pt idx="302">
                  <c:v>100.43562946692225</c:v>
                </c:pt>
                <c:pt idx="303">
                  <c:v>100.45589216975556</c:v>
                </c:pt>
                <c:pt idx="304">
                  <c:v>100.43601138712194</c:v>
                </c:pt>
                <c:pt idx="305">
                  <c:v>100.43126374978874</c:v>
                </c:pt>
                <c:pt idx="306">
                  <c:v>100.48839056673796</c:v>
                </c:pt>
                <c:pt idx="307">
                  <c:v>100.45667306001283</c:v>
                </c:pt>
                <c:pt idx="308">
                  <c:v>100.38216559873642</c:v>
                </c:pt>
                <c:pt idx="309">
                  <c:v>100.39058533458014</c:v>
                </c:pt>
                <c:pt idx="310">
                  <c:v>100.39768759948504</c:v>
                </c:pt>
                <c:pt idx="311">
                  <c:v>100.48579389675551</c:v>
                </c:pt>
                <c:pt idx="312">
                  <c:v>100.53368937188003</c:v>
                </c:pt>
                <c:pt idx="313">
                  <c:v>100.58879972558509</c:v>
                </c:pt>
                <c:pt idx="314">
                  <c:v>100.70764854356945</c:v>
                </c:pt>
                <c:pt idx="315">
                  <c:v>100.81585779865382</c:v>
                </c:pt>
                <c:pt idx="316">
                  <c:v>100.82491182618911</c:v>
                </c:pt>
                <c:pt idx="317">
                  <c:v>100.83265372877712</c:v>
                </c:pt>
                <c:pt idx="318">
                  <c:v>100.87646761744439</c:v>
                </c:pt>
                <c:pt idx="319">
                  <c:v>100.81405914835122</c:v>
                </c:pt>
                <c:pt idx="320">
                  <c:v>100.75095164941298</c:v>
                </c:pt>
                <c:pt idx="321">
                  <c:v>100.83156421062868</c:v>
                </c:pt>
                <c:pt idx="322">
                  <c:v>100.99935796120096</c:v>
                </c:pt>
                <c:pt idx="323">
                  <c:v>101.00709273802386</c:v>
                </c:pt>
                <c:pt idx="324">
                  <c:v>101.0141724644657</c:v>
                </c:pt>
                <c:pt idx="325">
                  <c:v>101.131260876536</c:v>
                </c:pt>
                <c:pt idx="326">
                  <c:v>101.20962953005909</c:v>
                </c:pt>
                <c:pt idx="327">
                  <c:v>101.37094601457754</c:v>
                </c:pt>
                <c:pt idx="328">
                  <c:v>101.34277451165423</c:v>
                </c:pt>
                <c:pt idx="329">
                  <c:v>101.34995128584224</c:v>
                </c:pt>
                <c:pt idx="330">
                  <c:v>101.35778063111844</c:v>
                </c:pt>
                <c:pt idx="331">
                  <c:v>101.36495707299024</c:v>
                </c:pt>
                <c:pt idx="332">
                  <c:v>101.40019813238483</c:v>
                </c:pt>
                <c:pt idx="333">
                  <c:v>101.46805198875667</c:v>
                </c:pt>
                <c:pt idx="334">
                  <c:v>101.60954458431503</c:v>
                </c:pt>
                <c:pt idx="335">
                  <c:v>101.64731523419027</c:v>
                </c:pt>
                <c:pt idx="336">
                  <c:v>101.599804174439</c:v>
                </c:pt>
                <c:pt idx="337">
                  <c:v>101.60566942913472</c:v>
                </c:pt>
                <c:pt idx="338">
                  <c:v>101.61283707240582</c:v>
                </c:pt>
                <c:pt idx="339">
                  <c:v>101.67861281244424</c:v>
                </c:pt>
                <c:pt idx="340">
                  <c:v>101.73328596436657</c:v>
                </c:pt>
                <c:pt idx="341">
                  <c:v>101.74630316087573</c:v>
                </c:pt>
                <c:pt idx="342">
                  <c:v>101.78923771550808</c:v>
                </c:pt>
                <c:pt idx="343">
                  <c:v>101.77754476706126</c:v>
                </c:pt>
                <c:pt idx="344">
                  <c:v>101.78990836374663</c:v>
                </c:pt>
                <c:pt idx="345">
                  <c:v>101.80162095365382</c:v>
                </c:pt>
                <c:pt idx="346">
                  <c:v>101.82828566276689</c:v>
                </c:pt>
                <c:pt idx="347">
                  <c:v>101.90564263943622</c:v>
                </c:pt>
                <c:pt idx="348">
                  <c:v>101.91799577096921</c:v>
                </c:pt>
                <c:pt idx="349">
                  <c:v>101.93749181428998</c:v>
                </c:pt>
                <c:pt idx="350">
                  <c:v>101.89400066299345</c:v>
                </c:pt>
                <c:pt idx="351">
                  <c:v>101.90635574383134</c:v>
                </c:pt>
                <c:pt idx="352">
                  <c:v>101.91806042760464</c:v>
                </c:pt>
                <c:pt idx="353">
                  <c:v>101.85507015760831</c:v>
                </c:pt>
                <c:pt idx="354">
                  <c:v>101.73419079724039</c:v>
                </c:pt>
                <c:pt idx="355">
                  <c:v>101.55524007087462</c:v>
                </c:pt>
                <c:pt idx="356">
                  <c:v>101.67715369452254</c:v>
                </c:pt>
                <c:pt idx="357">
                  <c:v>101.81911293313667</c:v>
                </c:pt>
                <c:pt idx="358">
                  <c:v>101.83212721112793</c:v>
                </c:pt>
                <c:pt idx="359">
                  <c:v>101.8436282834293</c:v>
                </c:pt>
                <c:pt idx="360">
                  <c:v>101.94680028980972</c:v>
                </c:pt>
                <c:pt idx="361">
                  <c:v>101.96024152044161</c:v>
                </c:pt>
                <c:pt idx="362">
                  <c:v>102.06655221204191</c:v>
                </c:pt>
                <c:pt idx="363">
                  <c:v>102.1597821651664</c:v>
                </c:pt>
                <c:pt idx="364">
                  <c:v>102.27691533385169</c:v>
                </c:pt>
                <c:pt idx="365">
                  <c:v>102.28903098190398</c:v>
                </c:pt>
                <c:pt idx="366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CB-44DA-93F1-D3B2E3BE4E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0022544"/>
        <c:axId val="839646960"/>
      </c:lineChart>
      <c:dateAx>
        <c:axId val="790022544"/>
        <c:scaling>
          <c:orientation val="minMax"/>
        </c:scaling>
        <c:delete val="0"/>
        <c:axPos val="b"/>
        <c:numFmt formatCode="[$]dd/mmm;@" c16r2:formatcode2="[$-en-ES]dd/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839646960"/>
        <c:crosses val="autoZero"/>
        <c:auto val="1"/>
        <c:lblOffset val="100"/>
        <c:baseTimeUnit val="days"/>
        <c:majorUnit val="1"/>
        <c:majorTimeUnit val="months"/>
        <c:minorUnit val="1"/>
        <c:minorTimeUnit val="days"/>
      </c:dateAx>
      <c:valAx>
        <c:axId val="8396469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790022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s-MX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9CE97D-CE46-4DB7-9FB3-F78EF2CFAF4D}" type="doc">
      <dgm:prSet loTypeId="urn:microsoft.com/office/officeart/2005/8/layout/h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s-CL"/>
        </a:p>
      </dgm:t>
    </dgm:pt>
    <dgm:pt modelId="{FC155C56-4308-40A9-8E7F-463B0CD9C936}">
      <dgm:prSet phldrT="[Texto]" custT="1"/>
      <dgm:spPr>
        <a:solidFill>
          <a:srgbClr val="597B7C"/>
        </a:solidFill>
        <a:ln>
          <a:solidFill>
            <a:srgbClr val="597B7C"/>
          </a:solidFill>
        </a:ln>
      </dgm:spPr>
      <dgm:t>
        <a:bodyPr/>
        <a:lstStyle/>
        <a:p>
          <a:r>
            <a:rPr lang="en-US" sz="1400" b="1" noProof="0" dirty="0">
              <a:latin typeface="Arial" panose="020B0604020202020204" pitchFamily="34" charset="0"/>
              <a:cs typeface="Arial" panose="020B0604020202020204" pitchFamily="34" charset="0"/>
            </a:rPr>
            <a:t>Política Monetaria</a:t>
          </a:r>
        </a:p>
      </dgm:t>
    </dgm:pt>
    <dgm:pt modelId="{3E374024-D852-4D49-A437-AB701A2C573D}" type="parTrans" cxnId="{255B9933-C1A8-4158-BB38-8CAF0822EE6A}">
      <dgm:prSet/>
      <dgm:spPr/>
      <dgm:t>
        <a:bodyPr/>
        <a:lstStyle/>
        <a:p>
          <a:endParaRPr lang="es-CL" sz="2000" b="0"/>
        </a:p>
      </dgm:t>
    </dgm:pt>
    <dgm:pt modelId="{685AA42F-C11B-4276-ABD0-54F1A6390A69}" type="sibTrans" cxnId="{255B9933-C1A8-4158-BB38-8CAF0822EE6A}">
      <dgm:prSet/>
      <dgm:spPr/>
      <dgm:t>
        <a:bodyPr/>
        <a:lstStyle/>
        <a:p>
          <a:endParaRPr lang="es-CL" sz="2000" b="0"/>
        </a:p>
      </dgm:t>
    </dgm:pt>
    <dgm:pt modelId="{1EBBAD25-408D-456B-A0C1-6FFD149A241E}">
      <dgm:prSet phldrT="[Texto]" custT="1"/>
      <dgm:spPr>
        <a:solidFill>
          <a:srgbClr val="597B7C"/>
        </a:solidFill>
        <a:ln>
          <a:solidFill>
            <a:srgbClr val="597B7C"/>
          </a:solidFill>
        </a:ln>
      </dgm:spPr>
      <dgm:t>
        <a:bodyPr/>
        <a:lstStyle/>
        <a:p>
          <a:r>
            <a:rPr lang="en-US" sz="1400" b="1" noProof="0" dirty="0">
              <a:latin typeface="Arial" panose="020B0604020202020204" pitchFamily="34" charset="0"/>
              <a:cs typeface="Arial" panose="020B0604020202020204" pitchFamily="34" charset="0"/>
            </a:rPr>
            <a:t>Inflación</a:t>
          </a:r>
          <a:endParaRPr lang="en-US" sz="1600" b="1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29F0BD6-9543-43D2-BD69-500FB6990070}" type="parTrans" cxnId="{5DA3510C-DB16-4748-9FEE-6C808E7A20CE}">
      <dgm:prSet/>
      <dgm:spPr/>
      <dgm:t>
        <a:bodyPr/>
        <a:lstStyle/>
        <a:p>
          <a:endParaRPr lang="es-CL" sz="2000" b="0"/>
        </a:p>
      </dgm:t>
    </dgm:pt>
    <dgm:pt modelId="{F512E405-CCFD-442A-8CBA-F94DD120CE2B}" type="sibTrans" cxnId="{5DA3510C-DB16-4748-9FEE-6C808E7A20CE}">
      <dgm:prSet/>
      <dgm:spPr/>
      <dgm:t>
        <a:bodyPr/>
        <a:lstStyle/>
        <a:p>
          <a:endParaRPr lang="es-CL" sz="2000" b="0"/>
        </a:p>
      </dgm:t>
    </dgm:pt>
    <dgm:pt modelId="{EC0B2086-6248-4013-A80A-FAD6FDDEA80D}">
      <dgm:prSet phldrT="[Texto]" custT="1"/>
      <dgm:spPr>
        <a:solidFill>
          <a:srgbClr val="597B7C"/>
        </a:solidFill>
        <a:ln>
          <a:solidFill>
            <a:srgbClr val="597B7C"/>
          </a:solidFill>
        </a:ln>
      </dgm:spPr>
      <dgm:t>
        <a:bodyPr/>
        <a:lstStyle/>
        <a:p>
          <a:r>
            <a:rPr lang="es-CL" sz="1400" b="1" dirty="0">
              <a:latin typeface="Arial" panose="020B0604020202020204" pitchFamily="34" charset="0"/>
              <a:cs typeface="Arial" panose="020B0604020202020204" pitchFamily="34" charset="0"/>
            </a:rPr>
            <a:t>FX</a:t>
          </a:r>
        </a:p>
      </dgm:t>
    </dgm:pt>
    <dgm:pt modelId="{D6CE4A28-E7A4-4D60-9CC9-44655BF7BF0A}" type="parTrans" cxnId="{C841F187-D26B-4FBD-BDE5-4F9C101883DA}">
      <dgm:prSet/>
      <dgm:spPr/>
      <dgm:t>
        <a:bodyPr/>
        <a:lstStyle/>
        <a:p>
          <a:endParaRPr lang="es-CL" sz="2000" b="0"/>
        </a:p>
      </dgm:t>
    </dgm:pt>
    <dgm:pt modelId="{78BD5E87-95B1-43C9-ACC8-D3FF39874F04}" type="sibTrans" cxnId="{C841F187-D26B-4FBD-BDE5-4F9C101883DA}">
      <dgm:prSet/>
      <dgm:spPr/>
      <dgm:t>
        <a:bodyPr/>
        <a:lstStyle/>
        <a:p>
          <a:endParaRPr lang="es-CL" sz="2000" b="0"/>
        </a:p>
      </dgm:t>
    </dgm:pt>
    <dgm:pt modelId="{E7B21CDF-61B0-4882-9E3C-58393D9FE2E0}">
      <dgm:prSet phldrT="[Texto]"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b="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rayectoria implícita</a:t>
          </a:r>
        </a:p>
      </dgm:t>
    </dgm:pt>
    <dgm:pt modelId="{2CCDAEA3-576C-4A95-AE5E-332BD81787AF}" type="parTrans" cxnId="{2B01F22B-A0A7-48D8-9F47-E130949D3416}">
      <dgm:prSet/>
      <dgm:spPr/>
      <dgm:t>
        <a:bodyPr/>
        <a:lstStyle/>
        <a:p>
          <a:endParaRPr lang="es-CL"/>
        </a:p>
      </dgm:t>
    </dgm:pt>
    <dgm:pt modelId="{7FAEE0C8-9B4A-4962-8442-24AA4519AD47}" type="sibTrans" cxnId="{2B01F22B-A0A7-48D8-9F47-E130949D3416}">
      <dgm:prSet/>
      <dgm:spPr/>
      <dgm:t>
        <a:bodyPr/>
        <a:lstStyle/>
        <a:p>
          <a:endParaRPr lang="es-CL"/>
        </a:p>
      </dgm:t>
    </dgm:pt>
    <dgm:pt modelId="{0854F913-1766-49B5-B81E-0D28DE03837D}">
      <dgm:prSet phldrT="[Texto]"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b="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aylor Rule</a:t>
          </a:r>
        </a:p>
      </dgm:t>
    </dgm:pt>
    <dgm:pt modelId="{D6B8D498-1AA9-434F-99CD-FE114A661EAC}" type="parTrans" cxnId="{AD9FEB34-0650-4A52-BA52-EAF55A300A71}">
      <dgm:prSet/>
      <dgm:spPr/>
      <dgm:t>
        <a:bodyPr/>
        <a:lstStyle/>
        <a:p>
          <a:endParaRPr lang="es-CL"/>
        </a:p>
      </dgm:t>
    </dgm:pt>
    <dgm:pt modelId="{62982666-AD53-43D0-B8B2-16A34EAF4D94}" type="sibTrans" cxnId="{AD9FEB34-0650-4A52-BA52-EAF55A300A71}">
      <dgm:prSet/>
      <dgm:spPr/>
      <dgm:t>
        <a:bodyPr/>
        <a:lstStyle/>
        <a:p>
          <a:endParaRPr lang="es-CL"/>
        </a:p>
      </dgm:t>
    </dgm:pt>
    <dgm:pt modelId="{BD32807D-ECF6-4DA3-A905-6C3AF6794919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Inflación implícita</a:t>
          </a:r>
        </a:p>
      </dgm:t>
    </dgm:pt>
    <dgm:pt modelId="{087E4B25-7538-4C4A-BBC5-386E4D142039}" type="parTrans" cxnId="{EF191CC4-40AF-4323-9A3D-5EB638A258D5}">
      <dgm:prSet/>
      <dgm:spPr/>
      <dgm:t>
        <a:bodyPr/>
        <a:lstStyle/>
        <a:p>
          <a:endParaRPr lang="es-CL"/>
        </a:p>
      </dgm:t>
    </dgm:pt>
    <dgm:pt modelId="{AB17A883-E1C1-4D63-915E-8FB7B52FED5C}" type="sibTrans" cxnId="{EF191CC4-40AF-4323-9A3D-5EB638A258D5}">
      <dgm:prSet/>
      <dgm:spPr/>
      <dgm:t>
        <a:bodyPr/>
        <a:lstStyle/>
        <a:p>
          <a:endParaRPr lang="es-CL"/>
        </a:p>
      </dgm:t>
    </dgm:pt>
    <dgm:pt modelId="{9C14B0EF-3917-4793-ACB2-E17013194B35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X</a:t>
          </a:r>
        </a:p>
      </dgm:t>
    </dgm:pt>
    <dgm:pt modelId="{81AA8634-A23D-416D-AA80-C58EE6BE2CA6}" type="parTrans" cxnId="{82378518-C3AF-44D1-A67B-8A4B4ADA526D}">
      <dgm:prSet/>
      <dgm:spPr/>
      <dgm:t>
        <a:bodyPr/>
        <a:lstStyle/>
        <a:p>
          <a:endParaRPr lang="es-CL"/>
        </a:p>
      </dgm:t>
    </dgm:pt>
    <dgm:pt modelId="{D1ECA479-0425-4F0A-9E8C-41CE21149876}" type="sibTrans" cxnId="{82378518-C3AF-44D1-A67B-8A4B4ADA526D}">
      <dgm:prSet/>
      <dgm:spPr/>
      <dgm:t>
        <a:bodyPr/>
        <a:lstStyle/>
        <a:p>
          <a:endParaRPr lang="es-CL"/>
        </a:p>
      </dgm:t>
    </dgm:pt>
    <dgm:pt modelId="{E021F0BA-D3AC-4AFF-A6ED-74BDB3FC568C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lujos</a:t>
          </a:r>
        </a:p>
      </dgm:t>
    </dgm:pt>
    <dgm:pt modelId="{3F83455F-6F7C-400C-9942-729234FCABFB}" type="parTrans" cxnId="{71BF68B5-7837-416E-858F-E29AAF417EFF}">
      <dgm:prSet/>
      <dgm:spPr/>
      <dgm:t>
        <a:bodyPr/>
        <a:lstStyle/>
        <a:p>
          <a:endParaRPr lang="es-CL"/>
        </a:p>
      </dgm:t>
    </dgm:pt>
    <dgm:pt modelId="{6A780CDE-45FD-4421-B0A6-0E06B64737B9}" type="sibTrans" cxnId="{71BF68B5-7837-416E-858F-E29AAF417EFF}">
      <dgm:prSet/>
      <dgm:spPr/>
      <dgm:t>
        <a:bodyPr/>
        <a:lstStyle/>
        <a:p>
          <a:endParaRPr lang="es-CL"/>
        </a:p>
      </dgm:t>
    </dgm:pt>
    <dgm:pt modelId="{D8212CD9-A1B3-48C6-B781-482EC404AA25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Estacionalidad</a:t>
          </a:r>
        </a:p>
      </dgm:t>
    </dgm:pt>
    <dgm:pt modelId="{48FD7DE1-9851-479E-AEA3-D8E9FB7BC818}" type="parTrans" cxnId="{EC36FCE8-DBC0-4147-98F2-2CBEA629A30D}">
      <dgm:prSet/>
      <dgm:spPr/>
      <dgm:t>
        <a:bodyPr/>
        <a:lstStyle/>
        <a:p>
          <a:endParaRPr lang="es-CL"/>
        </a:p>
      </dgm:t>
    </dgm:pt>
    <dgm:pt modelId="{53EFAA40-EE74-4042-B431-3A2D5FFA1C31}" type="sibTrans" cxnId="{EC36FCE8-DBC0-4147-98F2-2CBEA629A30D}">
      <dgm:prSet/>
      <dgm:spPr/>
      <dgm:t>
        <a:bodyPr/>
        <a:lstStyle/>
        <a:p>
          <a:endParaRPr lang="es-CL"/>
        </a:p>
      </dgm:t>
    </dgm:pt>
    <dgm:pt modelId="{66D142DB-A3B3-48CC-A409-6F6E117B4E4D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Commodities</a:t>
          </a:r>
        </a:p>
      </dgm:t>
    </dgm:pt>
    <dgm:pt modelId="{06D0F845-694F-4FF0-BA1D-9B41D2A999D5}" type="parTrans" cxnId="{0475491C-2A4A-4B8E-8DCA-84598EE5A158}">
      <dgm:prSet/>
      <dgm:spPr/>
      <dgm:t>
        <a:bodyPr/>
        <a:lstStyle/>
        <a:p>
          <a:endParaRPr lang="es-CL"/>
        </a:p>
      </dgm:t>
    </dgm:pt>
    <dgm:pt modelId="{50C95C18-1E3D-410A-BC07-FD61AF87DE26}" type="sibTrans" cxnId="{0475491C-2A4A-4B8E-8DCA-84598EE5A158}">
      <dgm:prSet/>
      <dgm:spPr/>
      <dgm:t>
        <a:bodyPr/>
        <a:lstStyle/>
        <a:p>
          <a:endParaRPr lang="es-CL"/>
        </a:p>
      </dgm:t>
    </dgm:pt>
    <dgm:pt modelId="{6E5E48AB-D33E-4E29-A347-4D8FF3816585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Estimación de inflación de corto plazo</a:t>
          </a:r>
        </a:p>
      </dgm:t>
    </dgm:pt>
    <dgm:pt modelId="{27157A0E-D842-4C6C-9053-E7592AF7EDCE}" type="parTrans" cxnId="{765D99A9-ABB8-43CC-98DF-EB6C2592556B}">
      <dgm:prSet/>
      <dgm:spPr/>
      <dgm:t>
        <a:bodyPr/>
        <a:lstStyle/>
        <a:p>
          <a:endParaRPr lang="es-CL"/>
        </a:p>
      </dgm:t>
    </dgm:pt>
    <dgm:pt modelId="{54D2058A-AB36-49D3-932A-78086C943758}" type="sibTrans" cxnId="{765D99A9-ABB8-43CC-98DF-EB6C2592556B}">
      <dgm:prSet/>
      <dgm:spPr/>
      <dgm:t>
        <a:bodyPr/>
        <a:lstStyle/>
        <a:p>
          <a:endParaRPr lang="es-CL"/>
        </a:p>
      </dgm:t>
    </dgm:pt>
    <dgm:pt modelId="{2AA01E09-393E-446E-B9A4-5FF845F5F5E3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érminos de intercambio</a:t>
          </a:r>
        </a:p>
      </dgm:t>
    </dgm:pt>
    <dgm:pt modelId="{241856BF-B677-4D9F-AA4F-E1DB2577F802}" type="parTrans" cxnId="{B357BDA1-1CC8-4CA6-8F12-FED3C89D7287}">
      <dgm:prSet/>
      <dgm:spPr/>
      <dgm:t>
        <a:bodyPr/>
        <a:lstStyle/>
        <a:p>
          <a:endParaRPr lang="es-CL"/>
        </a:p>
      </dgm:t>
    </dgm:pt>
    <dgm:pt modelId="{75D49D48-9B07-4E79-AFD6-1EE82082B5EF}" type="sibTrans" cxnId="{B357BDA1-1CC8-4CA6-8F12-FED3C89D7287}">
      <dgm:prSet/>
      <dgm:spPr/>
      <dgm:t>
        <a:bodyPr/>
        <a:lstStyle/>
        <a:p>
          <a:endParaRPr lang="es-CL"/>
        </a:p>
      </dgm:t>
    </dgm:pt>
    <dgm:pt modelId="{5B92307A-87EE-4D31-8006-8AF944427CDF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undamentales macroeconómicos</a:t>
          </a:r>
        </a:p>
      </dgm:t>
    </dgm:pt>
    <dgm:pt modelId="{030CD291-1695-4F7A-939D-810106BB2EDA}" type="parTrans" cxnId="{9C313840-E011-4856-804F-068A1177D823}">
      <dgm:prSet/>
      <dgm:spPr/>
      <dgm:t>
        <a:bodyPr/>
        <a:lstStyle/>
        <a:p>
          <a:endParaRPr lang="es-CL"/>
        </a:p>
      </dgm:t>
    </dgm:pt>
    <dgm:pt modelId="{14D68950-FCEC-4B48-B2CC-08F829E65464}" type="sibTrans" cxnId="{9C313840-E011-4856-804F-068A1177D823}">
      <dgm:prSet/>
      <dgm:spPr/>
      <dgm:t>
        <a:bodyPr/>
        <a:lstStyle/>
        <a:p>
          <a:endParaRPr lang="es-CL"/>
        </a:p>
      </dgm:t>
    </dgm:pt>
    <dgm:pt modelId="{D78A2EBE-F567-4142-B4BA-9C729FEE018B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Posicionamiento </a:t>
          </a:r>
        </a:p>
      </dgm:t>
    </dgm:pt>
    <dgm:pt modelId="{1D5A067F-BE47-44ED-B5ED-6CF966805E70}" type="parTrans" cxnId="{21ACA502-4032-419B-BD9C-2FE678C420BE}">
      <dgm:prSet/>
      <dgm:spPr/>
      <dgm:t>
        <a:bodyPr/>
        <a:lstStyle/>
        <a:p>
          <a:endParaRPr lang="es-CL"/>
        </a:p>
      </dgm:t>
    </dgm:pt>
    <dgm:pt modelId="{393013EC-5001-4EB0-AB5B-19771335844F}" type="sibTrans" cxnId="{21ACA502-4032-419B-BD9C-2FE678C420BE}">
      <dgm:prSet/>
      <dgm:spPr/>
      <dgm:t>
        <a:bodyPr/>
        <a:lstStyle/>
        <a:p>
          <a:endParaRPr lang="es-CL"/>
        </a:p>
      </dgm:t>
    </dgm:pt>
    <dgm:pt modelId="{123058D2-1A0F-4250-BCC2-DC6A423D12CA}">
      <dgm:prSet phldrT="[Texto]"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b="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Generación y simulación de trayectoria de política monetaria para distintos escenarios macro </a:t>
          </a:r>
        </a:p>
      </dgm:t>
    </dgm:pt>
    <dgm:pt modelId="{DEAB3890-E428-4B46-8EE3-C504E1393CC3}" type="parTrans" cxnId="{9F3EAF0A-F3C8-41B1-B170-9E3D57CB3A14}">
      <dgm:prSet/>
      <dgm:spPr/>
      <dgm:t>
        <a:bodyPr/>
        <a:lstStyle/>
        <a:p>
          <a:endParaRPr lang="es-CL"/>
        </a:p>
      </dgm:t>
    </dgm:pt>
    <dgm:pt modelId="{4AFA59C6-1F47-4C65-978C-10E31CE2D35A}" type="sibTrans" cxnId="{9F3EAF0A-F3C8-41B1-B170-9E3D57CB3A14}">
      <dgm:prSet/>
      <dgm:spPr/>
      <dgm:t>
        <a:bodyPr/>
        <a:lstStyle/>
        <a:p>
          <a:endParaRPr lang="es-CL"/>
        </a:p>
      </dgm:t>
    </dgm:pt>
    <dgm:pt modelId="{355A9B94-9059-4232-B17D-93BF361BB6DA}">
      <dgm:prSet custT="1"/>
      <dgm:spPr>
        <a:solidFill>
          <a:srgbClr val="E7EDED">
            <a:alpha val="90000"/>
          </a:srgbClr>
        </a:solidFill>
        <a:ln>
          <a:noFill/>
        </a:ln>
      </dgm:spPr>
      <dgm:t>
        <a:bodyPr/>
        <a:lstStyle/>
        <a:p>
          <a:pPr marL="180975" indent="-180975"/>
          <a:r>
            <a:rPr lang="en-US" sz="9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Inflación externa</a:t>
          </a:r>
        </a:p>
      </dgm:t>
    </dgm:pt>
    <dgm:pt modelId="{D2775432-6B87-4BB3-9C31-110A7B5D7DC1}" type="parTrans" cxnId="{457052A8-B6F4-425A-BD3A-29151A5E397A}">
      <dgm:prSet/>
      <dgm:spPr/>
      <dgm:t>
        <a:bodyPr/>
        <a:lstStyle/>
        <a:p>
          <a:endParaRPr lang="es-CL"/>
        </a:p>
      </dgm:t>
    </dgm:pt>
    <dgm:pt modelId="{65B223C4-295C-4364-A6C5-B43BF84055BC}" type="sibTrans" cxnId="{457052A8-B6F4-425A-BD3A-29151A5E397A}">
      <dgm:prSet/>
      <dgm:spPr/>
      <dgm:t>
        <a:bodyPr/>
        <a:lstStyle/>
        <a:p>
          <a:endParaRPr lang="es-CL"/>
        </a:p>
      </dgm:t>
    </dgm:pt>
    <dgm:pt modelId="{78B08E3C-5128-44F1-A44F-CF6DB5026F4C}" type="pres">
      <dgm:prSet presAssocID="{819CE97D-CE46-4DB7-9FB3-F78EF2CFAF4D}" presName="Name0" presStyleCnt="0">
        <dgm:presLayoutVars>
          <dgm:dir/>
          <dgm:animLvl val="lvl"/>
          <dgm:resizeHandles val="exact"/>
        </dgm:presLayoutVars>
      </dgm:prSet>
      <dgm:spPr/>
    </dgm:pt>
    <dgm:pt modelId="{12218F47-F740-4C2A-A0D4-1285E500AD01}" type="pres">
      <dgm:prSet presAssocID="{FC155C56-4308-40A9-8E7F-463B0CD9C936}" presName="composite" presStyleCnt="0"/>
      <dgm:spPr/>
    </dgm:pt>
    <dgm:pt modelId="{1C397A68-F1FF-41A6-8B94-844707EDDCC1}" type="pres">
      <dgm:prSet presAssocID="{FC155C56-4308-40A9-8E7F-463B0CD9C936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96803B0D-25F6-4354-B1BF-E4657D81D855}" type="pres">
      <dgm:prSet presAssocID="{FC155C56-4308-40A9-8E7F-463B0CD9C936}" presName="desTx" presStyleLbl="alignAccFollowNode1" presStyleIdx="0" presStyleCnt="3" custScaleY="100000">
        <dgm:presLayoutVars>
          <dgm:bulletEnabled val="1"/>
        </dgm:presLayoutVars>
      </dgm:prSet>
      <dgm:spPr/>
    </dgm:pt>
    <dgm:pt modelId="{7CA14EF2-3A03-49C0-821E-7B2AD99AA74D}" type="pres">
      <dgm:prSet presAssocID="{685AA42F-C11B-4276-ABD0-54F1A6390A69}" presName="space" presStyleCnt="0"/>
      <dgm:spPr/>
    </dgm:pt>
    <dgm:pt modelId="{C9D78250-4531-4D93-8BFB-47112E6789E0}" type="pres">
      <dgm:prSet presAssocID="{1EBBAD25-408D-456B-A0C1-6FFD149A241E}" presName="composite" presStyleCnt="0"/>
      <dgm:spPr/>
    </dgm:pt>
    <dgm:pt modelId="{8C13F998-E0C8-47EC-91CB-416D349E5638}" type="pres">
      <dgm:prSet presAssocID="{1EBBAD25-408D-456B-A0C1-6FFD149A241E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8D8A73A7-6B4C-429C-8B09-EB3E4CF42F3C}" type="pres">
      <dgm:prSet presAssocID="{1EBBAD25-408D-456B-A0C1-6FFD149A241E}" presName="desTx" presStyleLbl="alignAccFollowNode1" presStyleIdx="1" presStyleCnt="3" custScaleY="100000">
        <dgm:presLayoutVars>
          <dgm:bulletEnabled val="1"/>
        </dgm:presLayoutVars>
      </dgm:prSet>
      <dgm:spPr/>
    </dgm:pt>
    <dgm:pt modelId="{9F41789A-F814-4083-9C82-CF9E4397CC0D}" type="pres">
      <dgm:prSet presAssocID="{F512E405-CCFD-442A-8CBA-F94DD120CE2B}" presName="space" presStyleCnt="0"/>
      <dgm:spPr/>
    </dgm:pt>
    <dgm:pt modelId="{FF7F7AFD-DC51-4317-BCFD-928A1FBA77F6}" type="pres">
      <dgm:prSet presAssocID="{EC0B2086-6248-4013-A80A-FAD6FDDEA80D}" presName="composite" presStyleCnt="0"/>
      <dgm:spPr/>
    </dgm:pt>
    <dgm:pt modelId="{CA902C07-246C-47D0-B777-EDD89E6ACCDB}" type="pres">
      <dgm:prSet presAssocID="{EC0B2086-6248-4013-A80A-FAD6FDDEA80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1B2EBCD-B640-4660-8C29-CE045DD254EA}" type="pres">
      <dgm:prSet presAssocID="{EC0B2086-6248-4013-A80A-FAD6FDDEA80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21ACA502-4032-419B-BD9C-2FE678C420BE}" srcId="{EC0B2086-6248-4013-A80A-FAD6FDDEA80D}" destId="{D78A2EBE-F567-4142-B4BA-9C729FEE018B}" srcOrd="2" destOrd="0" parTransId="{1D5A067F-BE47-44ED-B5ED-6CF966805E70}" sibTransId="{393013EC-5001-4EB0-AB5B-19771335844F}"/>
    <dgm:cxn modelId="{9F3EAF0A-F3C8-41B1-B170-9E3D57CB3A14}" srcId="{FC155C56-4308-40A9-8E7F-463B0CD9C936}" destId="{123058D2-1A0F-4250-BCC2-DC6A423D12CA}" srcOrd="2" destOrd="0" parTransId="{DEAB3890-E428-4B46-8EE3-C504E1393CC3}" sibTransId="{4AFA59C6-1F47-4C65-978C-10E31CE2D35A}"/>
    <dgm:cxn modelId="{5DA3510C-DB16-4748-9FEE-6C808E7A20CE}" srcId="{819CE97D-CE46-4DB7-9FB3-F78EF2CFAF4D}" destId="{1EBBAD25-408D-456B-A0C1-6FFD149A241E}" srcOrd="1" destOrd="0" parTransId="{929F0BD6-9543-43D2-BD69-500FB6990070}" sibTransId="{F512E405-CCFD-442A-8CBA-F94DD120CE2B}"/>
    <dgm:cxn modelId="{82378518-C3AF-44D1-A67B-8A4B4ADA526D}" srcId="{1EBBAD25-408D-456B-A0C1-6FFD149A241E}" destId="{9C14B0EF-3917-4793-ACB2-E17013194B35}" srcOrd="2" destOrd="0" parTransId="{81AA8634-A23D-416D-AA80-C58EE6BE2CA6}" sibTransId="{D1ECA479-0425-4F0A-9E8C-41CE21149876}"/>
    <dgm:cxn modelId="{DDB57C1B-36D6-4DFA-8446-77ABD301805C}" type="presOf" srcId="{66D142DB-A3B3-48CC-A409-6F6E117B4E4D}" destId="{8D8A73A7-6B4C-429C-8B09-EB3E4CF42F3C}" srcOrd="0" destOrd="3" presId="urn:microsoft.com/office/officeart/2005/8/layout/hList1"/>
    <dgm:cxn modelId="{0475491C-2A4A-4B8E-8DCA-84598EE5A158}" srcId="{1EBBAD25-408D-456B-A0C1-6FFD149A241E}" destId="{66D142DB-A3B3-48CC-A409-6F6E117B4E4D}" srcOrd="3" destOrd="0" parTransId="{06D0F845-694F-4FF0-BA1D-9B41D2A999D5}" sibTransId="{50C95C18-1E3D-410A-BC07-FD61AF87DE26}"/>
    <dgm:cxn modelId="{90E67F1C-F964-4460-9A57-EE553AE7D129}" type="presOf" srcId="{355A9B94-9059-4232-B17D-93BF361BB6DA}" destId="{8D8A73A7-6B4C-429C-8B09-EB3E4CF42F3C}" srcOrd="0" destOrd="4" presId="urn:microsoft.com/office/officeart/2005/8/layout/hList1"/>
    <dgm:cxn modelId="{2B01F22B-A0A7-48D8-9F47-E130949D3416}" srcId="{FC155C56-4308-40A9-8E7F-463B0CD9C936}" destId="{E7B21CDF-61B0-4882-9E3C-58393D9FE2E0}" srcOrd="0" destOrd="0" parTransId="{2CCDAEA3-576C-4A95-AE5E-332BD81787AF}" sibTransId="{7FAEE0C8-9B4A-4962-8442-24AA4519AD47}"/>
    <dgm:cxn modelId="{255B9933-C1A8-4158-BB38-8CAF0822EE6A}" srcId="{819CE97D-CE46-4DB7-9FB3-F78EF2CFAF4D}" destId="{FC155C56-4308-40A9-8E7F-463B0CD9C936}" srcOrd="0" destOrd="0" parTransId="{3E374024-D852-4D49-A437-AB701A2C573D}" sibTransId="{685AA42F-C11B-4276-ABD0-54F1A6390A69}"/>
    <dgm:cxn modelId="{AD9FEB34-0650-4A52-BA52-EAF55A300A71}" srcId="{FC155C56-4308-40A9-8E7F-463B0CD9C936}" destId="{0854F913-1766-49B5-B81E-0D28DE03837D}" srcOrd="1" destOrd="0" parTransId="{D6B8D498-1AA9-434F-99CD-FE114A661EAC}" sibTransId="{62982666-AD53-43D0-B8B2-16A34EAF4D94}"/>
    <dgm:cxn modelId="{4EEDD63A-1B79-4783-B554-6A084628F1BE}" type="presOf" srcId="{123058D2-1A0F-4250-BCC2-DC6A423D12CA}" destId="{96803B0D-25F6-4354-B1BF-E4657D81D855}" srcOrd="0" destOrd="2" presId="urn:microsoft.com/office/officeart/2005/8/layout/hList1"/>
    <dgm:cxn modelId="{9C313840-E011-4856-804F-068A1177D823}" srcId="{EC0B2086-6248-4013-A80A-FAD6FDDEA80D}" destId="{5B92307A-87EE-4D31-8006-8AF944427CDF}" srcOrd="1" destOrd="0" parTransId="{030CD291-1695-4F7A-939D-810106BB2EDA}" sibTransId="{14D68950-FCEC-4B48-B2CC-08F829E65464}"/>
    <dgm:cxn modelId="{C33F3365-ADA5-4DBB-9090-100233F95013}" type="presOf" srcId="{FC155C56-4308-40A9-8E7F-463B0CD9C936}" destId="{1C397A68-F1FF-41A6-8B94-844707EDDCC1}" srcOrd="0" destOrd="0" presId="urn:microsoft.com/office/officeart/2005/8/layout/hList1"/>
    <dgm:cxn modelId="{88FF2951-F338-4DD9-90FE-9B67003E3CF6}" type="presOf" srcId="{9C14B0EF-3917-4793-ACB2-E17013194B35}" destId="{8D8A73A7-6B4C-429C-8B09-EB3E4CF42F3C}" srcOrd="0" destOrd="2" presId="urn:microsoft.com/office/officeart/2005/8/layout/hList1"/>
    <dgm:cxn modelId="{FA95FC51-207F-4FBD-8C51-71A6DDAA144E}" type="presOf" srcId="{819CE97D-CE46-4DB7-9FB3-F78EF2CFAF4D}" destId="{78B08E3C-5128-44F1-A44F-CF6DB5026F4C}" srcOrd="0" destOrd="0" presId="urn:microsoft.com/office/officeart/2005/8/layout/hList1"/>
    <dgm:cxn modelId="{026D9472-874B-4687-B5BA-A77F18CF21B7}" type="presOf" srcId="{D8212CD9-A1B3-48C6-B781-482EC404AA25}" destId="{8D8A73A7-6B4C-429C-8B09-EB3E4CF42F3C}" srcOrd="0" destOrd="1" presId="urn:microsoft.com/office/officeart/2005/8/layout/hList1"/>
    <dgm:cxn modelId="{2BEFA154-42BB-4B75-85E2-D7CAA68D29B2}" type="presOf" srcId="{E7B21CDF-61B0-4882-9E3C-58393D9FE2E0}" destId="{96803B0D-25F6-4354-B1BF-E4657D81D855}" srcOrd="0" destOrd="0" presId="urn:microsoft.com/office/officeart/2005/8/layout/hList1"/>
    <dgm:cxn modelId="{D883D156-4604-49BC-A47E-FCE61A78E859}" type="presOf" srcId="{EC0B2086-6248-4013-A80A-FAD6FDDEA80D}" destId="{CA902C07-246C-47D0-B777-EDD89E6ACCDB}" srcOrd="0" destOrd="0" presId="urn:microsoft.com/office/officeart/2005/8/layout/hList1"/>
    <dgm:cxn modelId="{7A0B2B85-14EB-4C13-9CB4-3268D66A574B}" type="presOf" srcId="{2AA01E09-393E-446E-B9A4-5FF845F5F5E3}" destId="{21B2EBCD-B640-4660-8C29-CE045DD254EA}" srcOrd="0" destOrd="0" presId="urn:microsoft.com/office/officeart/2005/8/layout/hList1"/>
    <dgm:cxn modelId="{C841F187-D26B-4FBD-BDE5-4F9C101883DA}" srcId="{819CE97D-CE46-4DB7-9FB3-F78EF2CFAF4D}" destId="{EC0B2086-6248-4013-A80A-FAD6FDDEA80D}" srcOrd="2" destOrd="0" parTransId="{D6CE4A28-E7A4-4D60-9CC9-44655BF7BF0A}" sibTransId="{78BD5E87-95B1-43C9-ACC8-D3FF39874F04}"/>
    <dgm:cxn modelId="{8D85A68B-7D32-45C5-BDD1-68D2423511F8}" type="presOf" srcId="{BD32807D-ECF6-4DA3-A905-6C3AF6794919}" destId="{8D8A73A7-6B4C-429C-8B09-EB3E4CF42F3C}" srcOrd="0" destOrd="0" presId="urn:microsoft.com/office/officeart/2005/8/layout/hList1"/>
    <dgm:cxn modelId="{8FD5328D-2A49-48C0-807D-3BD033E4B730}" type="presOf" srcId="{1EBBAD25-408D-456B-A0C1-6FFD149A241E}" destId="{8C13F998-E0C8-47EC-91CB-416D349E5638}" srcOrd="0" destOrd="0" presId="urn:microsoft.com/office/officeart/2005/8/layout/hList1"/>
    <dgm:cxn modelId="{B357BDA1-1CC8-4CA6-8F12-FED3C89D7287}" srcId="{EC0B2086-6248-4013-A80A-FAD6FDDEA80D}" destId="{2AA01E09-393E-446E-B9A4-5FF845F5F5E3}" srcOrd="0" destOrd="0" parTransId="{241856BF-B677-4D9F-AA4F-E1DB2577F802}" sibTransId="{75D49D48-9B07-4E79-AFD6-1EE82082B5EF}"/>
    <dgm:cxn modelId="{457052A8-B6F4-425A-BD3A-29151A5E397A}" srcId="{1EBBAD25-408D-456B-A0C1-6FFD149A241E}" destId="{355A9B94-9059-4232-B17D-93BF361BB6DA}" srcOrd="4" destOrd="0" parTransId="{D2775432-6B87-4BB3-9C31-110A7B5D7DC1}" sibTransId="{65B223C4-295C-4364-A6C5-B43BF84055BC}"/>
    <dgm:cxn modelId="{765D99A9-ABB8-43CC-98DF-EB6C2592556B}" srcId="{1EBBAD25-408D-456B-A0C1-6FFD149A241E}" destId="{6E5E48AB-D33E-4E29-A347-4D8FF3816585}" srcOrd="5" destOrd="0" parTransId="{27157A0E-D842-4C6C-9053-E7592AF7EDCE}" sibTransId="{54D2058A-AB36-49D3-932A-78086C943758}"/>
    <dgm:cxn modelId="{4AF0D5AA-0D5A-4A3F-A8BE-0B9AD7890742}" type="presOf" srcId="{6E5E48AB-D33E-4E29-A347-4D8FF3816585}" destId="{8D8A73A7-6B4C-429C-8B09-EB3E4CF42F3C}" srcOrd="0" destOrd="5" presId="urn:microsoft.com/office/officeart/2005/8/layout/hList1"/>
    <dgm:cxn modelId="{74C6E2AC-3585-4B50-BE1C-DBFDBE0EECE9}" type="presOf" srcId="{D78A2EBE-F567-4142-B4BA-9C729FEE018B}" destId="{21B2EBCD-B640-4660-8C29-CE045DD254EA}" srcOrd="0" destOrd="2" presId="urn:microsoft.com/office/officeart/2005/8/layout/hList1"/>
    <dgm:cxn modelId="{E90323B1-A75D-4348-BBFD-2D0742E61128}" type="presOf" srcId="{5B92307A-87EE-4D31-8006-8AF944427CDF}" destId="{21B2EBCD-B640-4660-8C29-CE045DD254EA}" srcOrd="0" destOrd="1" presId="urn:microsoft.com/office/officeart/2005/8/layout/hList1"/>
    <dgm:cxn modelId="{C986CEB1-8560-4807-8B63-A83F505DD4D2}" type="presOf" srcId="{0854F913-1766-49B5-B81E-0D28DE03837D}" destId="{96803B0D-25F6-4354-B1BF-E4657D81D855}" srcOrd="0" destOrd="1" presId="urn:microsoft.com/office/officeart/2005/8/layout/hList1"/>
    <dgm:cxn modelId="{71BF68B5-7837-416E-858F-E29AAF417EFF}" srcId="{EC0B2086-6248-4013-A80A-FAD6FDDEA80D}" destId="{E021F0BA-D3AC-4AFF-A6ED-74BDB3FC568C}" srcOrd="3" destOrd="0" parTransId="{3F83455F-6F7C-400C-9942-729234FCABFB}" sibTransId="{6A780CDE-45FD-4421-B0A6-0E06B64737B9}"/>
    <dgm:cxn modelId="{EF191CC4-40AF-4323-9A3D-5EB638A258D5}" srcId="{1EBBAD25-408D-456B-A0C1-6FFD149A241E}" destId="{BD32807D-ECF6-4DA3-A905-6C3AF6794919}" srcOrd="0" destOrd="0" parTransId="{087E4B25-7538-4C4A-BBC5-386E4D142039}" sibTransId="{AB17A883-E1C1-4D63-915E-8FB7B52FED5C}"/>
    <dgm:cxn modelId="{4C53C1E6-7D7C-4742-992D-5D32C2FA04D7}" type="presOf" srcId="{E021F0BA-D3AC-4AFF-A6ED-74BDB3FC568C}" destId="{21B2EBCD-B640-4660-8C29-CE045DD254EA}" srcOrd="0" destOrd="3" presId="urn:microsoft.com/office/officeart/2005/8/layout/hList1"/>
    <dgm:cxn modelId="{EC36FCE8-DBC0-4147-98F2-2CBEA629A30D}" srcId="{1EBBAD25-408D-456B-A0C1-6FFD149A241E}" destId="{D8212CD9-A1B3-48C6-B781-482EC404AA25}" srcOrd="1" destOrd="0" parTransId="{48FD7DE1-9851-479E-AEA3-D8E9FB7BC818}" sibTransId="{53EFAA40-EE74-4042-B431-3A2D5FFA1C31}"/>
    <dgm:cxn modelId="{262286C7-CE80-4B09-9B87-25867F882617}" type="presParOf" srcId="{78B08E3C-5128-44F1-A44F-CF6DB5026F4C}" destId="{12218F47-F740-4C2A-A0D4-1285E500AD01}" srcOrd="0" destOrd="0" presId="urn:microsoft.com/office/officeart/2005/8/layout/hList1"/>
    <dgm:cxn modelId="{61AF9FFD-526D-4F4E-86EC-64D9779DBB95}" type="presParOf" srcId="{12218F47-F740-4C2A-A0D4-1285E500AD01}" destId="{1C397A68-F1FF-41A6-8B94-844707EDDCC1}" srcOrd="0" destOrd="0" presId="urn:microsoft.com/office/officeart/2005/8/layout/hList1"/>
    <dgm:cxn modelId="{A0F36758-EAE9-4CFF-BC87-DE7489355B88}" type="presParOf" srcId="{12218F47-F740-4C2A-A0D4-1285E500AD01}" destId="{96803B0D-25F6-4354-B1BF-E4657D81D855}" srcOrd="1" destOrd="0" presId="urn:microsoft.com/office/officeart/2005/8/layout/hList1"/>
    <dgm:cxn modelId="{19182177-F888-44CA-8691-4FA4CC678917}" type="presParOf" srcId="{78B08E3C-5128-44F1-A44F-CF6DB5026F4C}" destId="{7CA14EF2-3A03-49C0-821E-7B2AD99AA74D}" srcOrd="1" destOrd="0" presId="urn:microsoft.com/office/officeart/2005/8/layout/hList1"/>
    <dgm:cxn modelId="{68498B21-C46A-40BC-AC03-D40DD0739B2D}" type="presParOf" srcId="{78B08E3C-5128-44F1-A44F-CF6DB5026F4C}" destId="{C9D78250-4531-4D93-8BFB-47112E6789E0}" srcOrd="2" destOrd="0" presId="urn:microsoft.com/office/officeart/2005/8/layout/hList1"/>
    <dgm:cxn modelId="{F2F3884C-08D9-4A51-B5EA-879B9E5B4E97}" type="presParOf" srcId="{C9D78250-4531-4D93-8BFB-47112E6789E0}" destId="{8C13F998-E0C8-47EC-91CB-416D349E5638}" srcOrd="0" destOrd="0" presId="urn:microsoft.com/office/officeart/2005/8/layout/hList1"/>
    <dgm:cxn modelId="{E589CC23-67D9-454C-AD3A-BBEE242C4C1D}" type="presParOf" srcId="{C9D78250-4531-4D93-8BFB-47112E6789E0}" destId="{8D8A73A7-6B4C-429C-8B09-EB3E4CF42F3C}" srcOrd="1" destOrd="0" presId="urn:microsoft.com/office/officeart/2005/8/layout/hList1"/>
    <dgm:cxn modelId="{F8034A93-FF7D-440A-AE22-DD7D16465E39}" type="presParOf" srcId="{78B08E3C-5128-44F1-A44F-CF6DB5026F4C}" destId="{9F41789A-F814-4083-9C82-CF9E4397CC0D}" srcOrd="3" destOrd="0" presId="urn:microsoft.com/office/officeart/2005/8/layout/hList1"/>
    <dgm:cxn modelId="{8CA4B45F-0194-4072-8C80-E0A5BE1C96C8}" type="presParOf" srcId="{78B08E3C-5128-44F1-A44F-CF6DB5026F4C}" destId="{FF7F7AFD-DC51-4317-BCFD-928A1FBA77F6}" srcOrd="4" destOrd="0" presId="urn:microsoft.com/office/officeart/2005/8/layout/hList1"/>
    <dgm:cxn modelId="{E7B4F8DB-5224-45BD-9D26-4052569E9AF3}" type="presParOf" srcId="{FF7F7AFD-DC51-4317-BCFD-928A1FBA77F6}" destId="{CA902C07-246C-47D0-B777-EDD89E6ACCDB}" srcOrd="0" destOrd="0" presId="urn:microsoft.com/office/officeart/2005/8/layout/hList1"/>
    <dgm:cxn modelId="{89665690-9C1F-4E29-9D7E-C8DF082A2C04}" type="presParOf" srcId="{FF7F7AFD-DC51-4317-BCFD-928A1FBA77F6}" destId="{21B2EBCD-B640-4660-8C29-CE045DD254E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397A68-F1FF-41A6-8B94-844707EDDCC1}">
      <dsp:nvSpPr>
        <dsp:cNvPr id="0" name=""/>
        <dsp:cNvSpPr/>
      </dsp:nvSpPr>
      <dsp:spPr>
        <a:xfrm>
          <a:off x="2295" y="3913"/>
          <a:ext cx="2237873" cy="432000"/>
        </a:xfrm>
        <a:prstGeom prst="rect">
          <a:avLst/>
        </a:prstGeom>
        <a:solidFill>
          <a:srgbClr val="597B7C"/>
        </a:solidFill>
        <a:ln w="25400" cap="flat" cmpd="sng" algn="ctr">
          <a:solidFill>
            <a:srgbClr val="597B7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 dirty="0">
              <a:latin typeface="Arial" panose="020B0604020202020204" pitchFamily="34" charset="0"/>
              <a:cs typeface="Arial" panose="020B0604020202020204" pitchFamily="34" charset="0"/>
            </a:rPr>
            <a:t>Política Monetaria</a:t>
          </a:r>
        </a:p>
      </dsp:txBody>
      <dsp:txXfrm>
        <a:off x="2295" y="3913"/>
        <a:ext cx="2237873" cy="432000"/>
      </dsp:txXfrm>
    </dsp:sp>
    <dsp:sp modelId="{96803B0D-25F6-4354-B1BF-E4657D81D855}">
      <dsp:nvSpPr>
        <dsp:cNvPr id="0" name=""/>
        <dsp:cNvSpPr/>
      </dsp:nvSpPr>
      <dsp:spPr>
        <a:xfrm>
          <a:off x="2295" y="435913"/>
          <a:ext cx="2237873" cy="928367"/>
        </a:xfrm>
        <a:prstGeom prst="rect">
          <a:avLst/>
        </a:prstGeom>
        <a:solidFill>
          <a:srgbClr val="E7EDED">
            <a:alpha val="90000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rayectoria implícita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aylor Rule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Generación y simulación de trayectoria de política monetaria para distintos escenarios macro </a:t>
          </a:r>
        </a:p>
      </dsp:txBody>
      <dsp:txXfrm>
        <a:off x="2295" y="435913"/>
        <a:ext cx="2237873" cy="928367"/>
      </dsp:txXfrm>
    </dsp:sp>
    <dsp:sp modelId="{8C13F998-E0C8-47EC-91CB-416D349E5638}">
      <dsp:nvSpPr>
        <dsp:cNvPr id="0" name=""/>
        <dsp:cNvSpPr/>
      </dsp:nvSpPr>
      <dsp:spPr>
        <a:xfrm>
          <a:off x="2553471" y="3913"/>
          <a:ext cx="2237873" cy="432000"/>
        </a:xfrm>
        <a:prstGeom prst="rect">
          <a:avLst/>
        </a:prstGeom>
        <a:solidFill>
          <a:srgbClr val="597B7C"/>
        </a:solidFill>
        <a:ln w="25400" cap="flat" cmpd="sng" algn="ctr">
          <a:solidFill>
            <a:srgbClr val="597B7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noProof="0" dirty="0">
              <a:latin typeface="Arial" panose="020B0604020202020204" pitchFamily="34" charset="0"/>
              <a:cs typeface="Arial" panose="020B0604020202020204" pitchFamily="34" charset="0"/>
            </a:rPr>
            <a:t>Inflación</a:t>
          </a:r>
          <a:endParaRPr lang="en-US" sz="1600" b="1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53471" y="3913"/>
        <a:ext cx="2237873" cy="432000"/>
      </dsp:txXfrm>
    </dsp:sp>
    <dsp:sp modelId="{8D8A73A7-6B4C-429C-8B09-EB3E4CF42F3C}">
      <dsp:nvSpPr>
        <dsp:cNvPr id="0" name=""/>
        <dsp:cNvSpPr/>
      </dsp:nvSpPr>
      <dsp:spPr>
        <a:xfrm>
          <a:off x="2553471" y="435913"/>
          <a:ext cx="2237873" cy="928367"/>
        </a:xfrm>
        <a:prstGeom prst="rect">
          <a:avLst/>
        </a:prstGeom>
        <a:solidFill>
          <a:srgbClr val="E7EDED">
            <a:alpha val="90000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Inflación implícita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Estacionalidad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X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Commodities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Inflación externa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Estimación de inflación de corto plazo</a:t>
          </a:r>
        </a:p>
      </dsp:txBody>
      <dsp:txXfrm>
        <a:off x="2553471" y="435913"/>
        <a:ext cx="2237873" cy="928367"/>
      </dsp:txXfrm>
    </dsp:sp>
    <dsp:sp modelId="{CA902C07-246C-47D0-B777-EDD89E6ACCDB}">
      <dsp:nvSpPr>
        <dsp:cNvPr id="0" name=""/>
        <dsp:cNvSpPr/>
      </dsp:nvSpPr>
      <dsp:spPr>
        <a:xfrm>
          <a:off x="5104647" y="3913"/>
          <a:ext cx="2237873" cy="432000"/>
        </a:xfrm>
        <a:prstGeom prst="rect">
          <a:avLst/>
        </a:prstGeom>
        <a:solidFill>
          <a:srgbClr val="597B7C"/>
        </a:solidFill>
        <a:ln w="25400" cap="flat" cmpd="sng" algn="ctr">
          <a:solidFill>
            <a:srgbClr val="597B7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400" b="1" kern="1200" dirty="0">
              <a:latin typeface="Arial" panose="020B0604020202020204" pitchFamily="34" charset="0"/>
              <a:cs typeface="Arial" panose="020B0604020202020204" pitchFamily="34" charset="0"/>
            </a:rPr>
            <a:t>FX</a:t>
          </a:r>
        </a:p>
      </dsp:txBody>
      <dsp:txXfrm>
        <a:off x="5104647" y="3913"/>
        <a:ext cx="2237873" cy="432000"/>
      </dsp:txXfrm>
    </dsp:sp>
    <dsp:sp modelId="{21B2EBCD-B640-4660-8C29-CE045DD254EA}">
      <dsp:nvSpPr>
        <dsp:cNvPr id="0" name=""/>
        <dsp:cNvSpPr/>
      </dsp:nvSpPr>
      <dsp:spPr>
        <a:xfrm>
          <a:off x="5104647" y="435913"/>
          <a:ext cx="2237873" cy="928367"/>
        </a:xfrm>
        <a:prstGeom prst="rect">
          <a:avLst/>
        </a:prstGeom>
        <a:solidFill>
          <a:srgbClr val="E7EDED">
            <a:alpha val="90000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Términos de intercambio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undamentales macroeconómicos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Posicionamiento </a:t>
          </a:r>
        </a:p>
        <a:p>
          <a:pPr marL="180975" lvl="1" indent="-180975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noProof="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rPr>
            <a:t>Flujos</a:t>
          </a:r>
        </a:p>
      </dsp:txBody>
      <dsp:txXfrm>
        <a:off x="5104647" y="435913"/>
        <a:ext cx="2237873" cy="9283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1803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61803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D4D0898-5666-4CBC-AF90-B974B4C5130C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20775" y="693738"/>
            <a:ext cx="4616450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87137"/>
            <a:ext cx="5486400" cy="4156233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2971800" cy="461803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772669"/>
            <a:ext cx="2971800" cy="461803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CFC86B0F-1F7E-42B9-AC4A-550F04A4EAB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37313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FCE94-3275-46C2-9963-A02411E1F618}" type="slidenum">
              <a:rPr lang="es-CL" smtClean="0">
                <a:solidFill>
                  <a:prstClr val="black"/>
                </a:solidFill>
              </a:rPr>
              <a:pPr/>
              <a:t>1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495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86B0F-1F7E-42B9-AC4A-550F04A4EAB9}" type="slidenum">
              <a:rPr lang="es-CL">
                <a:solidFill>
                  <a:prstClr val="black"/>
                </a:solidFill>
              </a:rPr>
              <a:pPr/>
              <a:t>15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0031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FCE94-3275-46C2-9963-A02411E1F618}" type="slidenum">
              <a:rPr lang="es-CL" smtClean="0">
                <a:solidFill>
                  <a:prstClr val="black"/>
                </a:solidFill>
              </a:rPr>
              <a:pPr/>
              <a:t>16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495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cxnSp>
        <p:nvCxnSpPr>
          <p:cNvPr id="7" name="6 Conector recto"/>
          <p:cNvCxnSpPr/>
          <p:nvPr/>
        </p:nvCxnSpPr>
        <p:spPr>
          <a:xfrm>
            <a:off x="116740" y="764704"/>
            <a:ext cx="8784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13 Marcador de texto"/>
          <p:cNvSpPr>
            <a:spLocks noGrp="1"/>
          </p:cNvSpPr>
          <p:nvPr>
            <p:ph type="body" sz="quarter" idx="15"/>
          </p:nvPr>
        </p:nvSpPr>
        <p:spPr>
          <a:xfrm>
            <a:off x="4644008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13 Marcador de texto"/>
          <p:cNvSpPr>
            <a:spLocks noGrp="1"/>
          </p:cNvSpPr>
          <p:nvPr>
            <p:ph type="body" sz="quarter" idx="16"/>
          </p:nvPr>
        </p:nvSpPr>
        <p:spPr>
          <a:xfrm>
            <a:off x="4644008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13 Marcador de texto"/>
          <p:cNvSpPr>
            <a:spLocks noGrp="1"/>
          </p:cNvSpPr>
          <p:nvPr>
            <p:ph type="body" sz="quarter" idx="18"/>
          </p:nvPr>
        </p:nvSpPr>
        <p:spPr>
          <a:xfrm>
            <a:off x="4644008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1" name="13 Marcador de texto"/>
          <p:cNvSpPr>
            <a:spLocks noGrp="1"/>
          </p:cNvSpPr>
          <p:nvPr>
            <p:ph type="body" sz="quarter" idx="19"/>
          </p:nvPr>
        </p:nvSpPr>
        <p:spPr>
          <a:xfrm>
            <a:off x="4644008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74180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ámi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Marcador de contenido 3"/>
          <p:cNvSpPr>
            <a:spLocks noGrp="1"/>
          </p:cNvSpPr>
          <p:nvPr>
            <p:ph sz="half" idx="14"/>
          </p:nvPr>
        </p:nvSpPr>
        <p:spPr>
          <a:xfrm>
            <a:off x="457200" y="442226"/>
            <a:ext cx="5348514" cy="652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CE611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>
                <a:ln>
                  <a:noFill/>
                </a:ln>
                <a:solidFill>
                  <a:srgbClr val="CE6116"/>
                </a:solidFill>
                <a:effectLst/>
                <a:uLnTx/>
                <a:uFillTx/>
                <a:latin typeface="Calibri"/>
              </a:rPr>
              <a:t>Haga clic para modificar el estilo de texto del patrón</a:t>
            </a:r>
          </a:p>
        </p:txBody>
      </p:sp>
      <p:sp>
        <p:nvSpPr>
          <p:cNvPr id="30" name="Marcador de número de diapositiva 7"/>
          <p:cNvSpPr>
            <a:spLocks noGrp="1"/>
          </p:cNvSpPr>
          <p:nvPr userDrawn="1">
            <p:ph type="sldNum" sz="quarter" idx="29"/>
          </p:nvPr>
        </p:nvSpPr>
        <p:spPr bwMode="auto">
          <a:xfrm>
            <a:off x="8248526" y="648411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>
            <a:lvl1pPr algn="r">
              <a:defRPr sz="1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4CB558A-B610-4010-B643-7F80EBB7034E}" type="slidenum">
              <a:rPr lang="es-ES" smtClean="0"/>
              <a:pPr/>
              <a:t>‹Nº›</a:t>
            </a:fld>
            <a:endParaRPr lang="es-ES" dirty="0"/>
          </a:p>
        </p:txBody>
      </p:sp>
      <p:cxnSp>
        <p:nvCxnSpPr>
          <p:cNvPr id="4" name="3 Conector recto"/>
          <p:cNvCxnSpPr/>
          <p:nvPr userDrawn="1"/>
        </p:nvCxnSpPr>
        <p:spPr>
          <a:xfrm>
            <a:off x="116740" y="764704"/>
            <a:ext cx="8784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142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40652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3172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4934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16432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65077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86734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138931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788773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04012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cxnSp>
        <p:nvCxnSpPr>
          <p:cNvPr id="7" name="6 Conector recto"/>
          <p:cNvCxnSpPr/>
          <p:nvPr/>
        </p:nvCxnSpPr>
        <p:spPr>
          <a:xfrm>
            <a:off x="116740" y="764704"/>
            <a:ext cx="8496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13 Marcador de texto"/>
          <p:cNvSpPr>
            <a:spLocks noGrp="1"/>
          </p:cNvSpPr>
          <p:nvPr>
            <p:ph type="body" sz="quarter" idx="15"/>
          </p:nvPr>
        </p:nvSpPr>
        <p:spPr>
          <a:xfrm>
            <a:off x="4644008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1" name="13 Marcador de texto"/>
          <p:cNvSpPr>
            <a:spLocks noGrp="1"/>
          </p:cNvSpPr>
          <p:nvPr>
            <p:ph type="body" sz="quarter" idx="19"/>
          </p:nvPr>
        </p:nvSpPr>
        <p:spPr>
          <a:xfrm>
            <a:off x="4644008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843393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54490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5092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13 Marcador de texto"/>
          <p:cNvSpPr>
            <a:spLocks noGrp="1"/>
          </p:cNvSpPr>
          <p:nvPr>
            <p:ph type="body" sz="quarter" idx="16"/>
          </p:nvPr>
        </p:nvSpPr>
        <p:spPr>
          <a:xfrm>
            <a:off x="4644008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13 Marcador de texto"/>
          <p:cNvSpPr>
            <a:spLocks noGrp="1"/>
          </p:cNvSpPr>
          <p:nvPr>
            <p:ph type="body" sz="quarter" idx="18"/>
          </p:nvPr>
        </p:nvSpPr>
        <p:spPr>
          <a:xfrm>
            <a:off x="4644008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11" name="10 Conector recto"/>
          <p:cNvCxnSpPr/>
          <p:nvPr/>
        </p:nvCxnSpPr>
        <p:spPr>
          <a:xfrm>
            <a:off x="116740" y="764704"/>
            <a:ext cx="8496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777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116740" y="764704"/>
            <a:ext cx="8784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841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7" name="13 Marcador de texto"/>
          <p:cNvSpPr>
            <a:spLocks noGrp="1"/>
          </p:cNvSpPr>
          <p:nvPr>
            <p:ph type="body" sz="quarter" idx="15"/>
          </p:nvPr>
        </p:nvSpPr>
        <p:spPr>
          <a:xfrm>
            <a:off x="4644008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13 Marcador de texto"/>
          <p:cNvSpPr>
            <a:spLocks noGrp="1"/>
          </p:cNvSpPr>
          <p:nvPr>
            <p:ph type="body" sz="quarter" idx="16"/>
          </p:nvPr>
        </p:nvSpPr>
        <p:spPr>
          <a:xfrm>
            <a:off x="4644008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13 Marcador de texto"/>
          <p:cNvSpPr>
            <a:spLocks noGrp="1"/>
          </p:cNvSpPr>
          <p:nvPr>
            <p:ph type="body" sz="quarter" idx="18"/>
          </p:nvPr>
        </p:nvSpPr>
        <p:spPr>
          <a:xfrm>
            <a:off x="4644008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1" name="13 Marcador de texto"/>
          <p:cNvSpPr>
            <a:spLocks noGrp="1"/>
          </p:cNvSpPr>
          <p:nvPr>
            <p:ph type="body" sz="quarter" idx="19"/>
          </p:nvPr>
        </p:nvSpPr>
        <p:spPr>
          <a:xfrm>
            <a:off x="4644008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11" name="10 Conector recto"/>
          <p:cNvCxnSpPr/>
          <p:nvPr/>
        </p:nvCxnSpPr>
        <p:spPr>
          <a:xfrm>
            <a:off x="116740" y="764704"/>
            <a:ext cx="8784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9373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8" name="13 Marcador de texto"/>
          <p:cNvSpPr>
            <a:spLocks noGrp="1"/>
          </p:cNvSpPr>
          <p:nvPr>
            <p:ph type="body" sz="quarter" idx="16"/>
          </p:nvPr>
        </p:nvSpPr>
        <p:spPr>
          <a:xfrm>
            <a:off x="4644008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0" name="13 Marcador de texto"/>
          <p:cNvSpPr>
            <a:spLocks noGrp="1"/>
          </p:cNvSpPr>
          <p:nvPr>
            <p:ph type="body" sz="quarter" idx="18"/>
          </p:nvPr>
        </p:nvSpPr>
        <p:spPr>
          <a:xfrm>
            <a:off x="4644008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11" name="10 Conector recto"/>
          <p:cNvCxnSpPr/>
          <p:nvPr/>
        </p:nvCxnSpPr>
        <p:spPr>
          <a:xfrm>
            <a:off x="116740" y="764704"/>
            <a:ext cx="8748000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0282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80988" cy="369332"/>
          </a:xfrm>
          <a:noFill/>
        </p:spPr>
        <p:txBody>
          <a:bodyPr wrap="none" rtlCol="0">
            <a:spAutoFit/>
          </a:bodyPr>
          <a:lstStyle>
            <a:lvl1pPr marL="0" algn="l" defTabSz="914400" rtl="0" eaLnBrk="1" latinLnBrk="0" hangingPunct="1">
              <a:defRPr lang="es-CL" sz="1800" kern="1200" dirty="0" smtClean="0">
                <a:solidFill>
                  <a:srgbClr val="597B7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fld id="{049525D4-0D7F-4D3A-BC65-88D46D226241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116740" y="764704"/>
            <a:ext cx="8784976" cy="0"/>
          </a:xfrm>
          <a:prstGeom prst="line">
            <a:avLst/>
          </a:prstGeom>
          <a:ln w="1587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6" name="13 Marcador de texto"/>
          <p:cNvSpPr>
            <a:spLocks noGrp="1"/>
          </p:cNvSpPr>
          <p:nvPr>
            <p:ph type="body" sz="quarter" idx="14"/>
          </p:nvPr>
        </p:nvSpPr>
        <p:spPr>
          <a:xfrm>
            <a:off x="107504" y="3429000"/>
            <a:ext cx="4536504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7" name="13 Marcador de texto"/>
          <p:cNvSpPr>
            <a:spLocks noGrp="1"/>
          </p:cNvSpPr>
          <p:nvPr>
            <p:ph type="body" sz="quarter" idx="15"/>
          </p:nvPr>
        </p:nvSpPr>
        <p:spPr>
          <a:xfrm>
            <a:off x="4644008" y="3429000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8" name="13 Marcador de texto"/>
          <p:cNvSpPr>
            <a:spLocks noGrp="1"/>
          </p:cNvSpPr>
          <p:nvPr>
            <p:ph type="body" sz="quarter" idx="16"/>
          </p:nvPr>
        </p:nvSpPr>
        <p:spPr>
          <a:xfrm>
            <a:off x="4644008" y="836712"/>
            <a:ext cx="5184576" cy="216024"/>
          </a:xfrm>
        </p:spPr>
        <p:txBody>
          <a:bodyPr/>
          <a:lstStyle>
            <a:lvl1pPr>
              <a:buNone/>
              <a:defRPr lang="es-ES" sz="900" b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9" name="13 Marcador de texto"/>
          <p:cNvSpPr>
            <a:spLocks noGrp="1"/>
          </p:cNvSpPr>
          <p:nvPr>
            <p:ph type="body" sz="quarter" idx="17"/>
          </p:nvPr>
        </p:nvSpPr>
        <p:spPr>
          <a:xfrm>
            <a:off x="107504" y="980728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20" name="13 Marcador de texto"/>
          <p:cNvSpPr>
            <a:spLocks noGrp="1"/>
          </p:cNvSpPr>
          <p:nvPr>
            <p:ph type="body" sz="quarter" idx="18"/>
          </p:nvPr>
        </p:nvSpPr>
        <p:spPr>
          <a:xfrm>
            <a:off x="4644008" y="980728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21" name="13 Marcador de texto"/>
          <p:cNvSpPr>
            <a:spLocks noGrp="1"/>
          </p:cNvSpPr>
          <p:nvPr>
            <p:ph type="body" sz="quarter" idx="19"/>
          </p:nvPr>
        </p:nvSpPr>
        <p:spPr>
          <a:xfrm>
            <a:off x="4644008" y="3573016"/>
            <a:ext cx="5184576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22" name="13 Marcador de texto"/>
          <p:cNvSpPr>
            <a:spLocks noGrp="1"/>
          </p:cNvSpPr>
          <p:nvPr>
            <p:ph type="body" sz="quarter" idx="20"/>
          </p:nvPr>
        </p:nvSpPr>
        <p:spPr>
          <a:xfrm>
            <a:off x="107504" y="3573016"/>
            <a:ext cx="4536504" cy="216024"/>
          </a:xfrm>
        </p:spPr>
        <p:txBody>
          <a:bodyPr/>
          <a:lstStyle>
            <a:lvl1pPr>
              <a:buNone/>
              <a:defRPr lang="es-ES" sz="900" b="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None/>
              <a:defRPr lang="es-ES" sz="900" i="1" kern="1200" dirty="0" smtClean="0">
                <a:solidFill>
                  <a:srgbClr val="425B5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08248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contenido 3"/>
          <p:cNvSpPr>
            <a:spLocks noGrp="1"/>
          </p:cNvSpPr>
          <p:nvPr>
            <p:ph sz="half" idx="13"/>
          </p:nvPr>
        </p:nvSpPr>
        <p:spPr>
          <a:xfrm>
            <a:off x="414297" y="3063655"/>
            <a:ext cx="4656446" cy="4492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678084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4" name="Marcador de contenido 3"/>
          <p:cNvSpPr>
            <a:spLocks noGrp="1"/>
          </p:cNvSpPr>
          <p:nvPr>
            <p:ph sz="half" idx="14"/>
          </p:nvPr>
        </p:nvSpPr>
        <p:spPr>
          <a:xfrm>
            <a:off x="414297" y="3512885"/>
            <a:ext cx="4656446" cy="4492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baseline="0">
                <a:solidFill>
                  <a:srgbClr val="CE6116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Marcador de contenido 3"/>
          <p:cNvSpPr>
            <a:spLocks noGrp="1"/>
          </p:cNvSpPr>
          <p:nvPr>
            <p:ph sz="half" idx="16"/>
          </p:nvPr>
        </p:nvSpPr>
        <p:spPr>
          <a:xfrm>
            <a:off x="7063014" y="516151"/>
            <a:ext cx="1854841" cy="44923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 b="0" i="0" baseline="0">
                <a:solidFill>
                  <a:srgbClr val="B5B7B2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1518334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fld id="{895A2E20-47E6-4C93-A266-F9940F5E1FA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664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pic>
        <p:nvPicPr>
          <p:cNvPr id="7" name="Picture 22"/>
          <p:cNvPicPr>
            <a:picLocks noChangeAspect="1" noChangeArrowheads="1"/>
          </p:cNvPicPr>
          <p:nvPr/>
        </p:nvPicPr>
        <p:blipFill>
          <a:blip r:embed="rId12" cstate="print"/>
          <a:srcRect t="19825" b="42719"/>
          <a:stretch>
            <a:fillRect/>
          </a:stretch>
        </p:blipFill>
        <p:spPr bwMode="auto">
          <a:xfrm>
            <a:off x="6372200" y="6384384"/>
            <a:ext cx="2376264" cy="304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8 Conector recto"/>
          <p:cNvCxnSpPr/>
          <p:nvPr/>
        </p:nvCxnSpPr>
        <p:spPr>
          <a:xfrm>
            <a:off x="107504" y="6237312"/>
            <a:ext cx="8784000" cy="0"/>
          </a:xfrm>
          <a:prstGeom prst="line">
            <a:avLst/>
          </a:prstGeom>
          <a:ln w="3492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"/>
          <p:cNvCxnSpPr/>
          <p:nvPr/>
        </p:nvCxnSpPr>
        <p:spPr>
          <a:xfrm>
            <a:off x="6823299" y="6697935"/>
            <a:ext cx="1800200" cy="0"/>
          </a:xfrm>
          <a:prstGeom prst="line">
            <a:avLst/>
          </a:prstGeom>
          <a:ln w="9525">
            <a:solidFill>
              <a:srgbClr val="597B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995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0" r:id="rId7"/>
    <p:sldLayoutId id="2147483675" r:id="rId8"/>
    <p:sldLayoutId id="2147483681" r:id="rId9"/>
    <p:sldLayoutId id="2147483694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597B7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597B7C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597B7C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597B7C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597B7C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597B7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2532B-B368-4CB5-AA29-58C465E7C178}" type="datetimeFigureOut">
              <a:rPr lang="es-CL" smtClean="0"/>
              <a:t>14-05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12019F-58F0-457A-AF8A-E9D68097332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5789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55476" y="476672"/>
            <a:ext cx="8188932" cy="360040"/>
          </a:xfrm>
        </p:spPr>
        <p:txBody>
          <a:bodyPr>
            <a:noAutofit/>
          </a:bodyPr>
          <a:lstStyle/>
          <a:p>
            <a:pPr algn="l"/>
            <a:r>
              <a:rPr lang="es-CL" sz="2000" spc="300" dirty="0">
                <a:solidFill>
                  <a:srgbClr val="597B7C"/>
                </a:solidFill>
                <a:latin typeface="Arial" pitchFamily="34" charset="0"/>
                <a:cs typeface="Arial" pitchFamily="34" charset="0"/>
              </a:rPr>
              <a:t>Presentación Fondo IMT E Plus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 r="2185"/>
          <a:stretch>
            <a:fillRect/>
          </a:stretch>
        </p:blipFill>
        <p:spPr bwMode="auto">
          <a:xfrm>
            <a:off x="107950" y="1700808"/>
            <a:ext cx="8856663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Rectángulo"/>
          <p:cNvSpPr/>
          <p:nvPr/>
        </p:nvSpPr>
        <p:spPr>
          <a:xfrm>
            <a:off x="107950" y="3068960"/>
            <a:ext cx="8856663" cy="144016"/>
          </a:xfrm>
          <a:prstGeom prst="rect">
            <a:avLst/>
          </a:prstGeom>
          <a:solidFill>
            <a:srgbClr val="59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7" name="10 Marcador de fecha"/>
          <p:cNvSpPr txBox="1">
            <a:spLocks/>
          </p:cNvSpPr>
          <p:nvPr/>
        </p:nvSpPr>
        <p:spPr>
          <a:xfrm>
            <a:off x="55476" y="5949280"/>
            <a:ext cx="6892788" cy="576064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050" b="1" dirty="0">
                <a:solidFill>
                  <a:srgbClr val="E87D1E"/>
                </a:solidFill>
                <a:latin typeface="Arial" pitchFamily="34" charset="0"/>
                <a:cs typeface="Arial" pitchFamily="34" charset="0"/>
              </a:rPr>
              <a:t>Mayo 2018</a:t>
            </a:r>
          </a:p>
        </p:txBody>
      </p:sp>
      <p:sp>
        <p:nvSpPr>
          <p:cNvPr id="6" name="10 Marcador de fecha"/>
          <p:cNvSpPr txBox="1">
            <a:spLocks/>
          </p:cNvSpPr>
          <p:nvPr/>
        </p:nvSpPr>
        <p:spPr>
          <a:xfrm>
            <a:off x="55476" y="729272"/>
            <a:ext cx="6892788" cy="576064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CO" sz="1100" b="1" dirty="0">
              <a:solidFill>
                <a:srgbClr val="597B7C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383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2608406" cy="369332"/>
          </a:xfrm>
        </p:spPr>
        <p:txBody>
          <a:bodyPr/>
          <a:lstStyle/>
          <a:p>
            <a:r>
              <a:rPr lang="es-CL" dirty="0"/>
              <a:t>Composición del Fondo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10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31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836712"/>
            <a:ext cx="4536504" cy="216024"/>
          </a:xfrm>
        </p:spPr>
        <p:txBody>
          <a:bodyPr>
            <a:normAutofit lnSpcReduction="10000"/>
          </a:bodyPr>
          <a:lstStyle/>
          <a:p>
            <a:r>
              <a:rPr lang="es-CL" dirty="0">
                <a:solidFill>
                  <a:srgbClr val="597B7C"/>
                </a:solidFill>
              </a:rPr>
              <a:t>Comparación Composición E Plus y AFP Fondo E</a:t>
            </a:r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328238"/>
              </p:ext>
            </p:extLst>
          </p:nvPr>
        </p:nvGraphicFramePr>
        <p:xfrm>
          <a:off x="914894" y="1340768"/>
          <a:ext cx="7314212" cy="2623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03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87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87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8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8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87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2315">
                <a:tc>
                  <a:txBody>
                    <a:bodyPr/>
                    <a:lstStyle/>
                    <a:p>
                      <a:pPr algn="l" fontAlgn="b"/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P Fondo E *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 Plus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endParaRPr lang="es-CL" sz="12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e de Activo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ación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ación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-Tesorería-Estatal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2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8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9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,2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nos Corporativos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4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4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0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ósitos a Plazo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,1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ta Fija Internacional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,5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ta Variable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7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,7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h + FX Forwards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0,8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ros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%</a:t>
                      </a:r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rgbClr val="597B7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b="0" i="0" u="none" strike="noStrike" dirty="0">
                          <a:solidFill>
                            <a:srgbClr val="597B7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 algn="l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95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2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93</a:t>
                      </a:r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CL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5 Rectángulo"/>
          <p:cNvSpPr/>
          <p:nvPr/>
        </p:nvSpPr>
        <p:spPr>
          <a:xfrm>
            <a:off x="419781" y="5157192"/>
            <a:ext cx="27751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90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Posicionamientos AFP con dos meses de rezago</a:t>
            </a:r>
            <a:endParaRPr lang="es-CL" sz="900" dirty="0">
              <a:solidFill>
                <a:srgbClr val="597B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570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3 Marcador de número de diapositiva"/>
          <p:cNvSpPr txBox="1">
            <a:spLocks/>
          </p:cNvSpPr>
          <p:nvPr/>
        </p:nvSpPr>
        <p:spPr bwMode="auto">
          <a:xfrm>
            <a:off x="8248526" y="648411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>
            <a:defPPr>
              <a:defRPr lang="es-ES"/>
            </a:defPPr>
            <a:lvl1pPr marL="0" algn="r" defTabSz="4572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B7D0AD-077A-6141-9B96-4B495551E7DB}" type="slidenum">
              <a:rPr lang="es-ES" b="0" smtClean="0">
                <a:solidFill>
                  <a:prstClr val="white"/>
                </a:solidFill>
              </a:rPr>
              <a:pPr/>
              <a:t>11</a:t>
            </a:fld>
            <a:endParaRPr lang="es-ES" b="0" dirty="0">
              <a:solidFill>
                <a:prstClr val="white"/>
              </a:solidFill>
            </a:endParaRPr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107504" y="414189"/>
            <a:ext cx="6048672" cy="36933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597B7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lvl="0" indent="-342900" algn="l">
              <a:spcBef>
                <a:spcPct val="20000"/>
              </a:spcBef>
              <a:defRPr/>
            </a:pPr>
            <a:r>
              <a:rPr lang="es-CL" sz="1800" dirty="0">
                <a:latin typeface="Arial" pitchFamily="34" charset="0"/>
                <a:cs typeface="Arial" pitchFamily="34" charset="0"/>
              </a:rPr>
              <a:t>Performance: Primeros YTD y 12M</a:t>
            </a:r>
          </a:p>
        </p:txBody>
      </p:sp>
      <p:sp>
        <p:nvSpPr>
          <p:cNvPr id="2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11</a:t>
            </a:fld>
            <a:endParaRPr lang="es-ES" dirty="0">
              <a:solidFill>
                <a:srgbClr val="597B7C"/>
              </a:solidFill>
            </a:endParaRP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D5F5AC33-7771-4EBE-B616-09BF9A67E9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6643745"/>
              </p:ext>
            </p:extLst>
          </p:nvPr>
        </p:nvGraphicFramePr>
        <p:xfrm>
          <a:off x="710137" y="836713"/>
          <a:ext cx="4752527" cy="2566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F4F3FE50-1AC0-4C4F-9BD5-2E418CED34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4209436"/>
              </p:ext>
            </p:extLst>
          </p:nvPr>
        </p:nvGraphicFramePr>
        <p:xfrm>
          <a:off x="710137" y="3454496"/>
          <a:ext cx="4752000" cy="2566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8747D061-44AE-471E-A54E-2594EDFDA5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440918"/>
              </p:ext>
            </p:extLst>
          </p:nvPr>
        </p:nvGraphicFramePr>
        <p:xfrm>
          <a:off x="5923606" y="1279346"/>
          <a:ext cx="2717800" cy="1466850"/>
        </p:xfrm>
        <a:graphic>
          <a:graphicData uri="http://schemas.openxmlformats.org/drawingml/2006/table">
            <a:tbl>
              <a:tblPr/>
              <a:tblGrid>
                <a:gridCol w="1094097">
                  <a:extLst>
                    <a:ext uri="{9D8B030D-6E8A-4147-A177-3AD203B41FA5}">
                      <a16:colId xmlns:a16="http://schemas.microsoft.com/office/drawing/2014/main" val="1651093570"/>
                    </a:ext>
                  </a:extLst>
                </a:gridCol>
                <a:gridCol w="1623703">
                  <a:extLst>
                    <a:ext uri="{9D8B030D-6E8A-4147-A177-3AD203B41FA5}">
                      <a16:colId xmlns:a16="http://schemas.microsoft.com/office/drawing/2014/main" val="20161047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ond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0B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torno YT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0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36866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E87D1E"/>
                          </a:solidFill>
                          <a:effectLst/>
                          <a:latin typeface="Arial" panose="020B0604020202020204" pitchFamily="34" charset="0"/>
                        </a:rPr>
                        <a:t>E Plu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E87D1E"/>
                          </a:solidFill>
                          <a:effectLst/>
                          <a:latin typeface="Arial" panose="020B0604020202020204" pitchFamily="34" charset="0"/>
                        </a:rPr>
                        <a:t>3.0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613781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BITA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64557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PI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87929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ANVI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2218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DEL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1581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VID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272791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PRU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757934"/>
                  </a:ext>
                </a:extLst>
              </a:tr>
            </a:tbl>
          </a:graphicData>
        </a:graphic>
      </p:graphicFrame>
      <p:graphicFrame>
        <p:nvGraphicFramePr>
          <p:cNvPr id="19" name="Tabla 18">
            <a:extLst>
              <a:ext uri="{FF2B5EF4-FFF2-40B4-BE49-F238E27FC236}">
                <a16:creationId xmlns:a16="http://schemas.microsoft.com/office/drawing/2014/main" id="{739A5BC2-0AF2-4A63-8AC4-7AB2EF19E8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53537"/>
              </p:ext>
            </p:extLst>
          </p:nvPr>
        </p:nvGraphicFramePr>
        <p:xfrm>
          <a:off x="5954593" y="3645024"/>
          <a:ext cx="2683317" cy="1466850"/>
        </p:xfrm>
        <a:graphic>
          <a:graphicData uri="http://schemas.openxmlformats.org/drawingml/2006/table">
            <a:tbl>
              <a:tblPr/>
              <a:tblGrid>
                <a:gridCol w="1256098">
                  <a:extLst>
                    <a:ext uri="{9D8B030D-6E8A-4147-A177-3AD203B41FA5}">
                      <a16:colId xmlns:a16="http://schemas.microsoft.com/office/drawing/2014/main" val="2865593736"/>
                    </a:ext>
                  </a:extLst>
                </a:gridCol>
                <a:gridCol w="1427219">
                  <a:extLst>
                    <a:ext uri="{9D8B030D-6E8A-4147-A177-3AD203B41FA5}">
                      <a16:colId xmlns:a16="http://schemas.microsoft.com/office/drawing/2014/main" val="131513401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ond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0B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torno 12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0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03091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E87D1E"/>
                          </a:solidFill>
                          <a:effectLst/>
                          <a:latin typeface="Arial" panose="020B0604020202020204" pitchFamily="34" charset="0"/>
                        </a:rPr>
                        <a:t>E Plu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1" i="0" u="none" strike="noStrike">
                          <a:solidFill>
                            <a:srgbClr val="E87D1E"/>
                          </a:solidFill>
                          <a:effectLst/>
                          <a:latin typeface="Arial" panose="020B0604020202020204" pitchFamily="34" charset="0"/>
                        </a:rPr>
                        <a:t>2.2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98420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DEL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53717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BITA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0226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PI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64133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ANVI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38713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VID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09740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PRU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2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2833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27582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2 Marcador de contenido"/>
          <p:cNvSpPr>
            <a:spLocks noGrp="1"/>
          </p:cNvSpPr>
          <p:nvPr>
            <p:ph sz="half" idx="13"/>
          </p:nvPr>
        </p:nvSpPr>
        <p:spPr bwMode="auto">
          <a:xfrm>
            <a:off x="563563" y="2979737"/>
            <a:ext cx="4656137" cy="4492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eaLnBrk="1" hangingPunct="1"/>
            <a:r>
              <a:rPr lang="es-CL" dirty="0">
                <a:solidFill>
                  <a:srgbClr val="597B7C"/>
                </a:solidFill>
              </a:rPr>
              <a:t>Proceso de Inversión</a:t>
            </a:r>
          </a:p>
        </p:txBody>
      </p:sp>
      <p:sp>
        <p:nvSpPr>
          <p:cNvPr id="3" name="7 Marcador de contenido"/>
          <p:cNvSpPr>
            <a:spLocks noGrp="1"/>
          </p:cNvSpPr>
          <p:nvPr/>
        </p:nvSpPr>
        <p:spPr>
          <a:xfrm>
            <a:off x="6684306" y="2852936"/>
            <a:ext cx="4656446" cy="44923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b="0" i="0" kern="1200" baseline="0">
                <a:solidFill>
                  <a:srgbClr val="CE611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3800" dirty="0">
                <a:solidFill>
                  <a:srgbClr val="597B7C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13442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2416046" cy="369332"/>
          </a:xfrm>
        </p:spPr>
        <p:txBody>
          <a:bodyPr/>
          <a:lstStyle/>
          <a:p>
            <a:pPr marR="0" lvl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tabLst/>
              <a:defRPr/>
            </a:pPr>
            <a:r>
              <a:rPr lang="es-CL" dirty="0"/>
              <a:t>Proceso de Inversión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13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35" name="1 Marcador de texto"/>
          <p:cNvSpPr>
            <a:spLocks noGrp="1"/>
          </p:cNvSpPr>
          <p:nvPr>
            <p:ph type="body" sz="quarter" idx="13"/>
          </p:nvPr>
        </p:nvSpPr>
        <p:spPr>
          <a:xfrm>
            <a:off x="107504" y="764704"/>
            <a:ext cx="4536504" cy="216024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s-CL" dirty="0">
                <a:solidFill>
                  <a:srgbClr val="597B7C"/>
                </a:solidFill>
              </a:rPr>
              <a:t>Enfoque orientando a medición y gestión del riesgo</a:t>
            </a:r>
          </a:p>
        </p:txBody>
      </p:sp>
      <p:sp>
        <p:nvSpPr>
          <p:cNvPr id="20" name="Trapezoid 25"/>
          <p:cNvSpPr/>
          <p:nvPr>
            <p:custDataLst>
              <p:tags r:id="rId1"/>
            </p:custDataLst>
          </p:nvPr>
        </p:nvSpPr>
        <p:spPr bwMode="auto">
          <a:xfrm flipV="1">
            <a:off x="3511237" y="5232827"/>
            <a:ext cx="1834285" cy="580084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21" name="Trapezoid 13"/>
          <p:cNvSpPr/>
          <p:nvPr>
            <p:custDataLst>
              <p:tags r:id="rId2"/>
            </p:custDataLst>
          </p:nvPr>
        </p:nvSpPr>
        <p:spPr bwMode="auto">
          <a:xfrm flipV="1">
            <a:off x="1801068" y="1111770"/>
            <a:ext cx="5254625" cy="609169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25" name="Trapezoid 25"/>
          <p:cNvSpPr/>
          <p:nvPr>
            <p:custDataLst>
              <p:tags r:id="rId3"/>
            </p:custDataLst>
          </p:nvPr>
        </p:nvSpPr>
        <p:spPr bwMode="auto">
          <a:xfrm flipV="1">
            <a:off x="3260744" y="4287590"/>
            <a:ext cx="2335331" cy="581570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27" name="Trapezoid 23"/>
          <p:cNvSpPr/>
          <p:nvPr>
            <p:custDataLst>
              <p:tags r:id="rId4"/>
            </p:custDataLst>
          </p:nvPr>
        </p:nvSpPr>
        <p:spPr bwMode="auto">
          <a:xfrm flipV="1">
            <a:off x="2413006" y="2057884"/>
            <a:ext cx="4030806" cy="670086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28" name="TextBox 15"/>
          <p:cNvSpPr txBox="1"/>
          <p:nvPr>
            <p:custDataLst>
              <p:tags r:id="rId5"/>
            </p:custDataLst>
          </p:nvPr>
        </p:nvSpPr>
        <p:spPr>
          <a:xfrm>
            <a:off x="2218452" y="1196752"/>
            <a:ext cx="1120134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 err="1">
                <a:solidFill>
                  <a:srgbClr val="597B7C"/>
                </a:solidFill>
                <a:latin typeface="Arial"/>
                <a:cs typeface="Myriad Pro"/>
              </a:rPr>
              <a:t>Research</a:t>
            </a: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 Propio</a:t>
            </a:r>
          </a:p>
        </p:txBody>
      </p:sp>
      <p:sp>
        <p:nvSpPr>
          <p:cNvPr id="31" name="Rectangle 26"/>
          <p:cNvSpPr/>
          <p:nvPr>
            <p:custDataLst>
              <p:tags r:id="rId6"/>
            </p:custDataLst>
          </p:nvPr>
        </p:nvSpPr>
        <p:spPr>
          <a:xfrm>
            <a:off x="3564016" y="5304383"/>
            <a:ext cx="1728787" cy="461665"/>
          </a:xfrm>
          <a:prstGeom prst="rect">
            <a:avLst/>
          </a:prstGeom>
          <a:ln>
            <a:noFill/>
          </a:ln>
          <a:effectLst/>
        </p:spPr>
        <p:txBody>
          <a:bodyPr>
            <a:spAutoFit/>
          </a:bodyPr>
          <a:lstStyle/>
          <a:p>
            <a:pPr marL="0" lvl="1" algn="ctr" eaLnBrk="0" hangingPunct="0">
              <a:spcBef>
                <a:spcPts val="100"/>
              </a:spcBef>
              <a:spcAft>
                <a:spcPts val="100"/>
              </a:spcAft>
              <a:buClr>
                <a:srgbClr val="1D4080"/>
              </a:buClr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Gestión de Riesgo Continuo</a:t>
            </a:r>
          </a:p>
        </p:txBody>
      </p:sp>
      <p:sp>
        <p:nvSpPr>
          <p:cNvPr id="32" name="Divisa 36"/>
          <p:cNvSpPr/>
          <p:nvPr>
            <p:custDataLst>
              <p:tags r:id="rId7"/>
            </p:custDataLst>
          </p:nvPr>
        </p:nvSpPr>
        <p:spPr bwMode="auto">
          <a:xfrm rot="5400000">
            <a:off x="4295869" y="1646785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33" name="Divisa 37"/>
          <p:cNvSpPr/>
          <p:nvPr>
            <p:custDataLst>
              <p:tags r:id="rId8"/>
            </p:custDataLst>
          </p:nvPr>
        </p:nvSpPr>
        <p:spPr bwMode="auto">
          <a:xfrm rot="5400000">
            <a:off x="4295869" y="2719896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34" name="Divisa 38"/>
          <p:cNvSpPr/>
          <p:nvPr>
            <p:custDataLst>
              <p:tags r:id="rId9"/>
            </p:custDataLst>
          </p:nvPr>
        </p:nvSpPr>
        <p:spPr bwMode="auto">
          <a:xfrm rot="5400000">
            <a:off x="4295869" y="4866117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36" name="TextBox 15"/>
          <p:cNvSpPr txBox="1"/>
          <p:nvPr>
            <p:custDataLst>
              <p:tags r:id="rId10"/>
            </p:custDataLst>
          </p:nvPr>
        </p:nvSpPr>
        <p:spPr>
          <a:xfrm>
            <a:off x="3844344" y="1289085"/>
            <a:ext cx="1151919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View Macro</a:t>
            </a:r>
          </a:p>
        </p:txBody>
      </p:sp>
      <p:sp>
        <p:nvSpPr>
          <p:cNvPr id="37" name="TextBox 15"/>
          <p:cNvSpPr txBox="1"/>
          <p:nvPr>
            <p:custDataLst>
              <p:tags r:id="rId11"/>
            </p:custDataLst>
          </p:nvPr>
        </p:nvSpPr>
        <p:spPr>
          <a:xfrm>
            <a:off x="5425100" y="1196752"/>
            <a:ext cx="1310174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Dinámica de Mercado</a:t>
            </a:r>
          </a:p>
        </p:txBody>
      </p:sp>
      <p:sp>
        <p:nvSpPr>
          <p:cNvPr id="38" name="TextBox 15"/>
          <p:cNvSpPr txBox="1"/>
          <p:nvPr>
            <p:custDataLst>
              <p:tags r:id="rId12"/>
            </p:custDataLst>
          </p:nvPr>
        </p:nvSpPr>
        <p:spPr>
          <a:xfrm>
            <a:off x="2930381" y="2057884"/>
            <a:ext cx="1079630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Generación de Estrategias</a:t>
            </a:r>
          </a:p>
        </p:txBody>
      </p:sp>
      <p:sp>
        <p:nvSpPr>
          <p:cNvPr id="39" name="TextBox 15"/>
          <p:cNvSpPr txBox="1"/>
          <p:nvPr>
            <p:custDataLst>
              <p:tags r:id="rId13"/>
            </p:custDataLst>
          </p:nvPr>
        </p:nvSpPr>
        <p:spPr>
          <a:xfrm>
            <a:off x="4802642" y="2057884"/>
            <a:ext cx="1128304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Evaluación de Convicción</a:t>
            </a:r>
          </a:p>
        </p:txBody>
      </p:sp>
      <p:sp>
        <p:nvSpPr>
          <p:cNvPr id="40" name="TextBox 15"/>
          <p:cNvSpPr txBox="1"/>
          <p:nvPr>
            <p:custDataLst>
              <p:tags r:id="rId14"/>
            </p:custDataLst>
          </p:nvPr>
        </p:nvSpPr>
        <p:spPr>
          <a:xfrm>
            <a:off x="3750096" y="4338198"/>
            <a:ext cx="1356566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Portafolio </a:t>
            </a:r>
            <a:b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</a:b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Final</a:t>
            </a:r>
          </a:p>
        </p:txBody>
      </p:sp>
      <p:sp>
        <p:nvSpPr>
          <p:cNvPr id="41" name="Trapezoid 23"/>
          <p:cNvSpPr/>
          <p:nvPr>
            <p:custDataLst>
              <p:tags r:id="rId15"/>
            </p:custDataLst>
          </p:nvPr>
        </p:nvSpPr>
        <p:spPr bwMode="auto">
          <a:xfrm flipV="1">
            <a:off x="2777666" y="3157054"/>
            <a:ext cx="3331245" cy="670086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42" name="Divisa 37"/>
          <p:cNvSpPr/>
          <p:nvPr>
            <p:custDataLst>
              <p:tags r:id="rId16"/>
            </p:custDataLst>
          </p:nvPr>
        </p:nvSpPr>
        <p:spPr bwMode="auto">
          <a:xfrm rot="5400000">
            <a:off x="4310748" y="3802532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43" name="TextBox 15"/>
          <p:cNvSpPr txBox="1"/>
          <p:nvPr>
            <p:custDataLst>
              <p:tags r:id="rId17"/>
            </p:custDataLst>
          </p:nvPr>
        </p:nvSpPr>
        <p:spPr>
          <a:xfrm>
            <a:off x="2945260" y="3246407"/>
            <a:ext cx="1079630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dirty="0">
                <a:solidFill>
                  <a:srgbClr val="597B7C"/>
                </a:solidFill>
                <a:latin typeface="Arial"/>
                <a:cs typeface="Myriad Pro"/>
              </a:rPr>
              <a:t>Medición de Riesgo</a:t>
            </a:r>
          </a:p>
        </p:txBody>
      </p:sp>
      <p:sp>
        <p:nvSpPr>
          <p:cNvPr id="44" name="TextBox 15"/>
          <p:cNvSpPr txBox="1"/>
          <p:nvPr>
            <p:custDataLst>
              <p:tags r:id="rId18"/>
            </p:custDataLst>
          </p:nvPr>
        </p:nvSpPr>
        <p:spPr>
          <a:xfrm>
            <a:off x="4817521" y="3246407"/>
            <a:ext cx="1128304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s-CL" sz="1200" i="1" dirty="0">
                <a:solidFill>
                  <a:srgbClr val="597B7C"/>
                </a:solidFill>
                <a:latin typeface="Arial"/>
                <a:cs typeface="Myriad Pro"/>
              </a:rPr>
              <a:t>Risk Allocation</a:t>
            </a:r>
          </a:p>
        </p:txBody>
      </p:sp>
    </p:spTree>
    <p:extLst>
      <p:ext uri="{BB962C8B-B14F-4D97-AF65-F5344CB8AC3E}">
        <p14:creationId xmlns:p14="http://schemas.microsoft.com/office/powerpoint/2010/main" val="1098361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2351926" cy="369332"/>
          </a:xfrm>
        </p:spPr>
        <p:txBody>
          <a:bodyPr/>
          <a:lstStyle/>
          <a:p>
            <a:r>
              <a:rPr lang="es-CL" dirty="0"/>
              <a:t>Proceso de Inversión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14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7" name="3 Marcador de contenido"/>
          <p:cNvSpPr txBox="1">
            <a:spLocks/>
          </p:cNvSpPr>
          <p:nvPr/>
        </p:nvSpPr>
        <p:spPr>
          <a:xfrm>
            <a:off x="251520" y="990253"/>
            <a:ext cx="8784976" cy="432048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just">
              <a:lnSpc>
                <a:spcPct val="150000"/>
              </a:lnSpc>
              <a:buNone/>
            </a:pPr>
            <a:r>
              <a:rPr lang="es-CL" sz="1200" b="1" dirty="0">
                <a:latin typeface="Arial" pitchFamily="34" charset="0"/>
                <a:cs typeface="Arial" pitchFamily="34" charset="0"/>
              </a:rPr>
              <a:t>Filosofía</a:t>
            </a:r>
          </a:p>
          <a:p>
            <a:pPr marL="409575" indent="-22860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b="1" dirty="0">
                <a:latin typeface="Arial" panose="020B0604020202020204" pitchFamily="34" charset="0"/>
                <a:cs typeface="Arial" panose="020B0604020202020204" pitchFamily="34" charset="0"/>
              </a:rPr>
              <a:t>Estructuramos nuestro portafolio de forma de beneficiarnos, entre otras cosas, de:</a:t>
            </a:r>
          </a:p>
          <a:p>
            <a:pPr lvl="1" indent="-200025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Divergencias entre los fundamentales macroeconómicos y el precio de los activos. Algunos ejemplos:</a:t>
            </a:r>
          </a:p>
          <a:p>
            <a:pPr marL="1162050" lvl="2" indent="-1714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Puntos de inflexión en Política Monetaria</a:t>
            </a:r>
          </a:p>
          <a:p>
            <a:pPr marL="1162050" lvl="2" indent="-1714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Shocks en Términos de Intercambio y sus efectos en las monedas.</a:t>
            </a:r>
          </a:p>
          <a:p>
            <a:pPr marL="1162050" lvl="2" indent="-1714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Expectativas de inflación.</a:t>
            </a:r>
          </a:p>
          <a:p>
            <a:pPr marL="1162050" lvl="2" indent="-171450" algn="just">
              <a:lnSpc>
                <a:spcPct val="150000"/>
              </a:lnSpc>
              <a:buFont typeface="Arial" panose="020B0604020202020204" pitchFamily="34" charset="0"/>
              <a:buChar char="−"/>
            </a:pPr>
            <a:endParaRPr lang="es-CL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4375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Carry &amp; Roll de la curva de rendimientos</a:t>
            </a:r>
          </a:p>
          <a:p>
            <a:pPr marL="714375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Valor relativo dentro de la curva de rendimientos</a:t>
            </a:r>
          </a:p>
          <a:p>
            <a:pPr marL="714375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sz="900" b="1" dirty="0">
                <a:latin typeface="Arial" panose="020B0604020202020204" pitchFamily="34" charset="0"/>
                <a:cs typeface="Arial" panose="020B0604020202020204" pitchFamily="34" charset="0"/>
              </a:rPr>
              <a:t>Oportunidades de arbitraje</a:t>
            </a:r>
          </a:p>
          <a:p>
            <a:pPr lvl="1" indent="-200025" algn="just">
              <a:lnSpc>
                <a:spcPct val="150000"/>
              </a:lnSpc>
            </a:pPr>
            <a:endParaRPr lang="es-CL" sz="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indent="0" algn="just">
              <a:lnSpc>
                <a:spcPct val="150000"/>
              </a:lnSpc>
              <a:buNone/>
            </a:pPr>
            <a:r>
              <a:rPr lang="es-CL" sz="1200" b="1" dirty="0">
                <a:latin typeface="Arial" pitchFamily="34" charset="0"/>
                <a:cs typeface="Arial" pitchFamily="34" charset="0"/>
              </a:rPr>
              <a:t>Implementación</a:t>
            </a:r>
          </a:p>
          <a:p>
            <a:pPr indent="-161925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b="1" dirty="0">
                <a:latin typeface="Arial" panose="020B0604020202020204" pitchFamily="34" charset="0"/>
                <a:cs typeface="Arial" panose="020B0604020202020204" pitchFamily="34" charset="0"/>
              </a:rPr>
              <a:t>Profundo análisis macroeconómico, el cual combinamos con un proceso riguroso  de generación de precios.</a:t>
            </a:r>
            <a:endParaRPr lang="es-CL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algn="just">
              <a:lnSpc>
                <a:spcPct val="150000"/>
              </a:lnSpc>
            </a:pPr>
            <a:endParaRPr lang="es-CL" sz="2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endParaRPr lang="es-C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293281585"/>
              </p:ext>
            </p:extLst>
          </p:nvPr>
        </p:nvGraphicFramePr>
        <p:xfrm>
          <a:off x="948978" y="4124697"/>
          <a:ext cx="7344816" cy="13681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brir llave 3"/>
          <p:cNvSpPr/>
          <p:nvPr/>
        </p:nvSpPr>
        <p:spPr bwMode="auto">
          <a:xfrm rot="16200000">
            <a:off x="4553998" y="1898828"/>
            <a:ext cx="180025" cy="7488831"/>
          </a:xfrm>
          <a:prstGeom prst="leftBrace">
            <a:avLst/>
          </a:prstGeom>
          <a:ln>
            <a:solidFill>
              <a:srgbClr val="597B7C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pSp>
        <p:nvGrpSpPr>
          <p:cNvPr id="8" name="Grupo 6"/>
          <p:cNvGrpSpPr/>
          <p:nvPr/>
        </p:nvGrpSpPr>
        <p:grpSpPr>
          <a:xfrm>
            <a:off x="3579128" y="5851749"/>
            <a:ext cx="2084516" cy="215982"/>
            <a:chOff x="2610" y="14829"/>
            <a:chExt cx="2545103" cy="864000"/>
          </a:xfrm>
          <a:solidFill>
            <a:srgbClr val="597B7C"/>
          </a:solidFill>
        </p:grpSpPr>
        <p:sp>
          <p:nvSpPr>
            <p:cNvPr id="9" name="Rectángulo 7"/>
            <p:cNvSpPr/>
            <p:nvPr/>
          </p:nvSpPr>
          <p:spPr>
            <a:xfrm>
              <a:off x="2610" y="14829"/>
              <a:ext cx="2545103" cy="864000"/>
            </a:xfrm>
            <a:prstGeom prst="rect">
              <a:avLst/>
            </a:prstGeom>
            <a:grpFill/>
            <a:ln>
              <a:solidFill>
                <a:srgbClr val="597B7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</p:sp>
        <p:sp>
          <p:nvSpPr>
            <p:cNvPr id="10" name="Rectángulo 8"/>
            <p:cNvSpPr/>
            <p:nvPr/>
          </p:nvSpPr>
          <p:spPr>
            <a:xfrm>
              <a:off x="2610" y="14829"/>
              <a:ext cx="2545103" cy="864000"/>
            </a:xfrm>
            <a:prstGeom prst="rect">
              <a:avLst/>
            </a:prstGeom>
            <a:grpFill/>
            <a:ln>
              <a:solidFill>
                <a:srgbClr val="597B7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spcFirstLastPara="0" vert="horz" wrap="square" lIns="142240" tIns="81280" rIns="142240" bIns="8128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Generación de Precios</a:t>
              </a:r>
              <a:endParaRPr lang="en-US" sz="14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5503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5442516" cy="369332"/>
          </a:xfrm>
        </p:spPr>
        <p:txBody>
          <a:bodyPr/>
          <a:lstStyle/>
          <a:p>
            <a:r>
              <a:rPr lang="es-CL" dirty="0"/>
              <a:t>Proceso de Inversión: Disciplina como factor central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15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251520" y="2996952"/>
            <a:ext cx="3960440" cy="432048"/>
          </a:xfrm>
          <a:prstGeom prst="rect">
            <a:avLst/>
          </a:prstGeom>
          <a:solidFill>
            <a:srgbClr val="59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niones Formales</a:t>
            </a:r>
          </a:p>
        </p:txBody>
      </p:sp>
      <p:sp>
        <p:nvSpPr>
          <p:cNvPr id="5" name="4 Rectángulo"/>
          <p:cNvSpPr/>
          <p:nvPr/>
        </p:nvSpPr>
        <p:spPr>
          <a:xfrm>
            <a:off x="4903465" y="2996952"/>
            <a:ext cx="3960000" cy="432048"/>
          </a:xfrm>
          <a:prstGeom prst="rect">
            <a:avLst/>
          </a:prstGeom>
          <a:solidFill>
            <a:srgbClr val="59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err="1">
                <a:solidFill>
                  <a:prstClr val="white"/>
                </a:solidFill>
              </a:rPr>
              <a:t>Asginación</a:t>
            </a:r>
            <a:r>
              <a:rPr lang="es-CL" dirty="0">
                <a:solidFill>
                  <a:prstClr val="white"/>
                </a:solidFill>
              </a:rPr>
              <a:t> de Riesgo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51520" y="3501008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i="1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ning Meeting </a:t>
            </a: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rio donde cada head de clase de activo expone sobre la apertura del día y cierre del día anterior, contrastando con su estrategia.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251520" y="4383152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 Semanal Regional por Clase de Activo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251520" y="5265296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2" indent="-171450" algn="just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ión semanal de Macro Global y LatAm, además de reuniones específicas para Chile, US y China</a:t>
            </a:r>
            <a:r>
              <a:rPr lang="es-CL" sz="105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4903465" y="3501008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8125" lvl="2" indent="-171450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undo análisis macroeconómico. </a:t>
            </a:r>
          </a:p>
          <a:p>
            <a:pPr marL="238125" lvl="2" indent="-171450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bertura de nuestro equipo de research, PMs están en contacto con las autoridades (Banco Central y Ministerio de Hacienda) e inversionistas institucionales de la región.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4903465" y="4383152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8125" lvl="2" indent="-171450"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i="1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ing</a:t>
            </a: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trades en base a fundamentales macro, niveles, y convicción 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4903465" y="5265296"/>
            <a:ext cx="3960440" cy="828000"/>
          </a:xfrm>
          <a:prstGeom prst="rect">
            <a:avLst/>
          </a:prstGeom>
          <a:solidFill>
            <a:srgbClr val="BBC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57175" lvl="2" indent="-171450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i="1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Budgeting </a:t>
            </a:r>
            <a:r>
              <a:rPr lang="es-CL" sz="105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base a scoring</a:t>
            </a:r>
          </a:p>
        </p:txBody>
      </p:sp>
      <p:sp>
        <p:nvSpPr>
          <p:cNvPr id="22" name="3 Marcador de contenido"/>
          <p:cNvSpPr txBox="1">
            <a:spLocks/>
          </p:cNvSpPr>
          <p:nvPr/>
        </p:nvSpPr>
        <p:spPr>
          <a:xfrm>
            <a:off x="107504" y="990253"/>
            <a:ext cx="8928992" cy="26008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just">
              <a:lnSpc>
                <a:spcPct val="150000"/>
              </a:lnSpc>
              <a:buNone/>
            </a:pPr>
            <a:r>
              <a:rPr lang="es-CL" sz="1400" b="1" dirty="0">
                <a:latin typeface="Arial" pitchFamily="34" charset="0"/>
                <a:cs typeface="Arial" pitchFamily="34" charset="0"/>
              </a:rPr>
              <a:t>Consistencia, disciplina y búsqueda de valor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Nuestro posicionamiento se realiza en base a un </a:t>
            </a:r>
            <a:r>
              <a:rPr lang="es-CL" sz="11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undo análisis macroeconómico </a:t>
            </a: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con el objetivo de maximizar el retorno en el mediano plazo.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1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disciplina es fundamental </a:t>
            </a: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en el alineamiento de las posiciones del fondo con nuestra visión de mediano plazo.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Buscamos valor a través de todos los activos elegibles del fondo, </a:t>
            </a:r>
            <a:r>
              <a:rPr lang="es-CL" sz="11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tando y diversificando</a:t>
            </a:r>
            <a:r>
              <a:rPr lang="es-CL" sz="1100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las fuentes de creación de valor.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Proceso de inversión </a:t>
            </a:r>
            <a:r>
              <a:rPr lang="es-CL" sz="11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iplinado y exigente</a:t>
            </a: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249601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 r="2185"/>
          <a:stretch>
            <a:fillRect/>
          </a:stretch>
        </p:blipFill>
        <p:spPr bwMode="auto">
          <a:xfrm>
            <a:off x="107950" y="1700808"/>
            <a:ext cx="8856663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Rectángulo"/>
          <p:cNvSpPr/>
          <p:nvPr/>
        </p:nvSpPr>
        <p:spPr>
          <a:xfrm>
            <a:off x="107950" y="3068960"/>
            <a:ext cx="8856663" cy="144016"/>
          </a:xfrm>
          <a:prstGeom prst="rect">
            <a:avLst/>
          </a:prstGeom>
          <a:solidFill>
            <a:srgbClr val="59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6" name="10 Marcador de fecha"/>
          <p:cNvSpPr txBox="1">
            <a:spLocks/>
          </p:cNvSpPr>
          <p:nvPr/>
        </p:nvSpPr>
        <p:spPr>
          <a:xfrm>
            <a:off x="55476" y="729272"/>
            <a:ext cx="6892788" cy="576064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CO" sz="1100" b="1" dirty="0">
              <a:solidFill>
                <a:srgbClr val="597B7C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310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CuadroTexto"/>
          <p:cNvSpPr txBox="1">
            <a:spLocks noChangeArrowheads="1"/>
          </p:cNvSpPr>
          <p:nvPr/>
        </p:nvSpPr>
        <p:spPr bwMode="auto">
          <a:xfrm>
            <a:off x="1691680" y="1628800"/>
            <a:ext cx="6336704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lvl="1" indent="-266700">
              <a:lnSpc>
                <a:spcPct val="200000"/>
              </a:lnSpc>
              <a:buClr>
                <a:srgbClr val="E87D1E"/>
              </a:buClr>
              <a:buFont typeface="Wingdings" pitchFamily="2" charset="2"/>
              <a:buChar char="§"/>
              <a:tabLst>
                <a:tab pos="628650" algn="l"/>
              </a:tabLst>
              <a:defRPr/>
            </a:pPr>
            <a:r>
              <a:rPr lang="es-CL" sz="160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ción Fondo IMT E Plus</a:t>
            </a:r>
          </a:p>
          <a:p>
            <a:pPr marL="266700" lvl="1" indent="-266700">
              <a:lnSpc>
                <a:spcPct val="200000"/>
              </a:lnSpc>
              <a:buClr>
                <a:srgbClr val="E87D1E"/>
              </a:buClr>
              <a:buFont typeface="Wingdings" pitchFamily="2" charset="2"/>
              <a:buChar char="§"/>
              <a:tabLst>
                <a:tab pos="628650" algn="l"/>
              </a:tabLst>
              <a:defRPr/>
            </a:pPr>
            <a:r>
              <a:rPr lang="es-CL" sz="160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 y Performance Fondo IMT E Plus</a:t>
            </a:r>
          </a:p>
          <a:p>
            <a:pPr marL="266700" lvl="1" indent="-266700">
              <a:lnSpc>
                <a:spcPct val="200000"/>
              </a:lnSpc>
              <a:buClr>
                <a:srgbClr val="E87D1E"/>
              </a:buClr>
              <a:buFont typeface="Wingdings" pitchFamily="2" charset="2"/>
              <a:buChar char="§"/>
              <a:tabLst>
                <a:tab pos="628650" algn="l"/>
              </a:tabLst>
              <a:defRPr/>
            </a:pPr>
            <a:r>
              <a:rPr lang="es-CL" sz="160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 de Inversión</a:t>
            </a:r>
          </a:p>
          <a:p>
            <a:pPr lvl="2">
              <a:lnSpc>
                <a:spcPct val="150000"/>
              </a:lnSpc>
              <a:buClr>
                <a:srgbClr val="E87D1E"/>
              </a:buClr>
              <a:defRPr/>
            </a:pPr>
            <a:endParaRPr lang="es-CL" sz="120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24 Marcador de texto"/>
          <p:cNvSpPr txBox="1">
            <a:spLocks/>
          </p:cNvSpPr>
          <p:nvPr/>
        </p:nvSpPr>
        <p:spPr bwMode="auto">
          <a:xfrm>
            <a:off x="250825" y="549275"/>
            <a:ext cx="61214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auto" hangingPunct="1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s-CL" altLang="es-CL" dirty="0">
                <a:solidFill>
                  <a:srgbClr val="597B7C"/>
                </a:solidFill>
              </a:rPr>
              <a:t>Tabla de Contenidos</a:t>
            </a:r>
            <a:endParaRPr lang="es-ES" altLang="es-CL" sz="1100" dirty="0">
              <a:solidFill>
                <a:srgbClr val="597B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752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sz="half" idx="13"/>
          </p:nvPr>
        </p:nvSpPr>
        <p:spPr bwMode="auto">
          <a:xfrm>
            <a:off x="563563" y="2979737"/>
            <a:ext cx="8760965" cy="4492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lvl="1" indent="0">
              <a:lnSpc>
                <a:spcPct val="200000"/>
              </a:lnSpc>
              <a:spcBef>
                <a:spcPts val="0"/>
              </a:spcBef>
              <a:buClr>
                <a:srgbClr val="E87D1E"/>
              </a:buClr>
              <a:buNone/>
              <a:tabLst>
                <a:tab pos="628650" algn="l"/>
              </a:tabLst>
              <a:defRPr/>
            </a:pPr>
            <a:r>
              <a:rPr lang="es-CL" sz="2400" dirty="0">
                <a:latin typeface="Arial" panose="020B0604020202020204" pitchFamily="34" charset="0"/>
                <a:cs typeface="Arial" panose="020B0604020202020204" pitchFamily="34" charset="0"/>
              </a:rPr>
              <a:t>Presentación Fondo IMT E Plus</a:t>
            </a:r>
          </a:p>
        </p:txBody>
      </p:sp>
      <p:sp>
        <p:nvSpPr>
          <p:cNvPr id="3" name="7 Marcador de contenido"/>
          <p:cNvSpPr>
            <a:spLocks noGrp="1"/>
          </p:cNvSpPr>
          <p:nvPr/>
        </p:nvSpPr>
        <p:spPr>
          <a:xfrm>
            <a:off x="6684306" y="2852936"/>
            <a:ext cx="4656446" cy="44923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b="0" i="0" kern="1200" baseline="0">
                <a:solidFill>
                  <a:srgbClr val="CE611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3800" dirty="0">
                <a:solidFill>
                  <a:srgbClr val="597B7C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27257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3993401" cy="369332"/>
          </a:xfrm>
        </p:spPr>
        <p:txBody>
          <a:bodyPr/>
          <a:lstStyle/>
          <a:p>
            <a:r>
              <a:rPr lang="es-CL" dirty="0"/>
              <a:t>Fondo E Plus: Descripción y Objetivo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4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6" name="Trapezoid 13"/>
          <p:cNvSpPr/>
          <p:nvPr>
            <p:custDataLst>
              <p:tags r:id="rId1"/>
            </p:custDataLst>
          </p:nvPr>
        </p:nvSpPr>
        <p:spPr bwMode="auto">
          <a:xfrm>
            <a:off x="899592" y="1215898"/>
            <a:ext cx="7200800" cy="609169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defRPr/>
            </a:pPr>
            <a:r>
              <a:rPr lang="pt-BR" sz="1600" dirty="0" err="1">
                <a:solidFill>
                  <a:srgbClr val="597B7C"/>
                </a:solidFill>
              </a:rPr>
              <a:t>Mejores</a:t>
            </a:r>
            <a:r>
              <a:rPr lang="pt-BR" sz="1600" dirty="0">
                <a:solidFill>
                  <a:srgbClr val="597B7C"/>
                </a:solidFill>
              </a:rPr>
              <a:t> </a:t>
            </a:r>
            <a:r>
              <a:rPr lang="pt-BR" sz="1600" dirty="0" err="1">
                <a:solidFill>
                  <a:srgbClr val="597B7C"/>
                </a:solidFill>
              </a:rPr>
              <a:t>ideas</a:t>
            </a:r>
            <a:r>
              <a:rPr lang="pt-BR" sz="1600" dirty="0">
                <a:solidFill>
                  <a:srgbClr val="597B7C"/>
                </a:solidFill>
              </a:rPr>
              <a:t> </a:t>
            </a:r>
            <a:r>
              <a:rPr lang="pt-BR" sz="1600" dirty="0" err="1">
                <a:solidFill>
                  <a:srgbClr val="597B7C"/>
                </a:solidFill>
              </a:rPr>
              <a:t>del</a:t>
            </a:r>
            <a:r>
              <a:rPr lang="pt-BR" sz="1600" dirty="0">
                <a:solidFill>
                  <a:srgbClr val="597B7C"/>
                </a:solidFill>
              </a:rPr>
              <a:t> equipo de Credicorp Capital </a:t>
            </a:r>
            <a:r>
              <a:rPr lang="pt-BR" sz="1600" dirty="0" err="1">
                <a:solidFill>
                  <a:srgbClr val="597B7C"/>
                </a:solidFill>
              </a:rPr>
              <a:t>Asset</a:t>
            </a:r>
            <a:r>
              <a:rPr lang="pt-BR" sz="1600" dirty="0">
                <a:solidFill>
                  <a:srgbClr val="597B7C"/>
                </a:solidFill>
              </a:rPr>
              <a:t> Management Chile  </a:t>
            </a:r>
          </a:p>
        </p:txBody>
      </p:sp>
      <p:sp>
        <p:nvSpPr>
          <p:cNvPr id="7" name="Trapezoid 13"/>
          <p:cNvSpPr/>
          <p:nvPr>
            <p:custDataLst>
              <p:tags r:id="rId2"/>
            </p:custDataLst>
          </p:nvPr>
        </p:nvSpPr>
        <p:spPr bwMode="auto">
          <a:xfrm>
            <a:off x="2275337" y="2476347"/>
            <a:ext cx="4064665" cy="609169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defRPr/>
            </a:pPr>
            <a:r>
              <a:rPr lang="pt-BR" sz="1600" dirty="0" err="1">
                <a:solidFill>
                  <a:srgbClr val="597B7C"/>
                </a:solidFill>
              </a:rPr>
              <a:t>Asignación</a:t>
            </a:r>
            <a:r>
              <a:rPr lang="pt-BR" sz="1600" dirty="0">
                <a:solidFill>
                  <a:srgbClr val="597B7C"/>
                </a:solidFill>
              </a:rPr>
              <a:t> Estratégica de </a:t>
            </a:r>
            <a:r>
              <a:rPr lang="pt-BR" sz="1600" dirty="0" err="1">
                <a:solidFill>
                  <a:srgbClr val="597B7C"/>
                </a:solidFill>
              </a:rPr>
              <a:t>Activos</a:t>
            </a:r>
            <a:endParaRPr lang="pt-BR" sz="1600" dirty="0">
              <a:solidFill>
                <a:srgbClr val="597B7C"/>
              </a:solidFill>
            </a:endParaRPr>
          </a:p>
        </p:txBody>
      </p:sp>
      <p:sp>
        <p:nvSpPr>
          <p:cNvPr id="8" name="Trapezoid 13"/>
          <p:cNvSpPr/>
          <p:nvPr>
            <p:custDataLst>
              <p:tags r:id="rId3"/>
            </p:custDataLst>
          </p:nvPr>
        </p:nvSpPr>
        <p:spPr bwMode="auto">
          <a:xfrm>
            <a:off x="2651485" y="3736792"/>
            <a:ext cx="3312368" cy="609169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defRPr/>
            </a:pPr>
            <a:r>
              <a:rPr lang="pt-BR" sz="1600" dirty="0" err="1">
                <a:solidFill>
                  <a:srgbClr val="597B7C"/>
                </a:solidFill>
              </a:rPr>
              <a:t>Maximización</a:t>
            </a:r>
            <a:r>
              <a:rPr lang="pt-BR" sz="1600" dirty="0">
                <a:solidFill>
                  <a:srgbClr val="597B7C"/>
                </a:solidFill>
              </a:rPr>
              <a:t> de retornos </a:t>
            </a:r>
            <a:r>
              <a:rPr lang="pt-BR" sz="1600" dirty="0" err="1">
                <a:solidFill>
                  <a:srgbClr val="597B7C"/>
                </a:solidFill>
              </a:rPr>
              <a:t>en</a:t>
            </a:r>
            <a:r>
              <a:rPr lang="pt-BR" sz="1600" dirty="0">
                <a:solidFill>
                  <a:srgbClr val="597B7C"/>
                </a:solidFill>
              </a:rPr>
              <a:t> CLP </a:t>
            </a:r>
            <a:r>
              <a:rPr lang="pt-BR" sz="1600" dirty="0" err="1">
                <a:solidFill>
                  <a:srgbClr val="597B7C"/>
                </a:solidFill>
              </a:rPr>
              <a:t>sujeto</a:t>
            </a:r>
            <a:r>
              <a:rPr lang="pt-BR" sz="1600" dirty="0">
                <a:solidFill>
                  <a:srgbClr val="597B7C"/>
                </a:solidFill>
              </a:rPr>
              <a:t> a </a:t>
            </a:r>
            <a:r>
              <a:rPr lang="pt-BR" sz="1600" dirty="0" err="1">
                <a:solidFill>
                  <a:srgbClr val="597B7C"/>
                </a:solidFill>
              </a:rPr>
              <a:t>un</a:t>
            </a:r>
            <a:r>
              <a:rPr lang="pt-BR" sz="1600" dirty="0">
                <a:solidFill>
                  <a:srgbClr val="597B7C"/>
                </a:solidFill>
              </a:rPr>
              <a:t> </a:t>
            </a:r>
            <a:r>
              <a:rPr lang="pt-BR" sz="1600" dirty="0" err="1">
                <a:solidFill>
                  <a:srgbClr val="597B7C"/>
                </a:solidFill>
              </a:rPr>
              <a:t>presupuesto</a:t>
            </a:r>
            <a:r>
              <a:rPr lang="pt-BR" sz="1600" dirty="0">
                <a:solidFill>
                  <a:srgbClr val="597B7C"/>
                </a:solidFill>
              </a:rPr>
              <a:t> de </a:t>
            </a:r>
            <a:r>
              <a:rPr lang="pt-BR" sz="1600" dirty="0" err="1">
                <a:solidFill>
                  <a:srgbClr val="597B7C"/>
                </a:solidFill>
              </a:rPr>
              <a:t>riesgo</a:t>
            </a:r>
            <a:endParaRPr lang="pt-BR" sz="1600" dirty="0">
              <a:solidFill>
                <a:srgbClr val="597B7C"/>
              </a:solidFill>
            </a:endParaRPr>
          </a:p>
        </p:txBody>
      </p:sp>
      <p:sp>
        <p:nvSpPr>
          <p:cNvPr id="9" name="Trapezoid 13"/>
          <p:cNvSpPr/>
          <p:nvPr>
            <p:custDataLst>
              <p:tags r:id="rId4"/>
            </p:custDataLst>
          </p:nvPr>
        </p:nvSpPr>
        <p:spPr bwMode="auto">
          <a:xfrm>
            <a:off x="3659597" y="4977222"/>
            <a:ext cx="1296144" cy="503445"/>
          </a:xfrm>
          <a:prstGeom prst="roundRect">
            <a:avLst/>
          </a:prstGeom>
          <a:solidFill>
            <a:srgbClr val="BBCFC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defRPr/>
            </a:pPr>
            <a:r>
              <a:rPr lang="pt-BR" sz="1600" dirty="0">
                <a:solidFill>
                  <a:srgbClr val="597B7C"/>
                </a:solidFill>
              </a:rPr>
              <a:t>IMT E Plus</a:t>
            </a:r>
          </a:p>
        </p:txBody>
      </p:sp>
      <p:sp>
        <p:nvSpPr>
          <p:cNvPr id="20" name="Divisa 36"/>
          <p:cNvSpPr/>
          <p:nvPr>
            <p:custDataLst>
              <p:tags r:id="rId5"/>
            </p:custDataLst>
          </p:nvPr>
        </p:nvSpPr>
        <p:spPr bwMode="auto">
          <a:xfrm rot="5400000">
            <a:off x="4175129" y="1935570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21" name="Divisa 37"/>
          <p:cNvSpPr/>
          <p:nvPr>
            <p:custDataLst>
              <p:tags r:id="rId6"/>
            </p:custDataLst>
          </p:nvPr>
        </p:nvSpPr>
        <p:spPr bwMode="auto">
          <a:xfrm rot="5400000">
            <a:off x="4175129" y="3196016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13" name="Divisa 37"/>
          <p:cNvSpPr/>
          <p:nvPr>
            <p:custDataLst>
              <p:tags r:id="rId7"/>
            </p:custDataLst>
          </p:nvPr>
        </p:nvSpPr>
        <p:spPr bwMode="auto">
          <a:xfrm rot="5400000">
            <a:off x="4175128" y="4498533"/>
            <a:ext cx="265081" cy="430278"/>
          </a:xfrm>
          <a:prstGeom prst="chevron">
            <a:avLst/>
          </a:prstGeom>
          <a:solidFill>
            <a:srgbClr val="E87D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pt-BR" b="1">
              <a:solidFill>
                <a:prstClr val="black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664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4185761" cy="369332"/>
          </a:xfrm>
        </p:spPr>
        <p:txBody>
          <a:bodyPr/>
          <a:lstStyle/>
          <a:p>
            <a:r>
              <a:rPr lang="es-CL" dirty="0"/>
              <a:t>Fondo E Plus: Pensamos en Factores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5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13" name="3 Marcador de contenido"/>
          <p:cNvSpPr txBox="1">
            <a:spLocks/>
          </p:cNvSpPr>
          <p:nvPr/>
        </p:nvSpPr>
        <p:spPr>
          <a:xfrm>
            <a:off x="251520" y="980728"/>
            <a:ext cx="8583810" cy="483495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Tres puntos clave en el proceso de Inversión</a:t>
            </a:r>
          </a:p>
          <a:p>
            <a:pPr marL="628650" lvl="1" indent="-228600" algn="just">
              <a:lnSpc>
                <a:spcPct val="250000"/>
              </a:lnSpc>
              <a:buFont typeface="+mj-lt"/>
              <a:buAutoNum type="arabicPeriod"/>
            </a:pP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Pensar en factores de riesgo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2" algn="just">
              <a:lnSpc>
                <a:spcPct val="150000"/>
              </a:lnSpc>
            </a:pP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 Controlar y monitorear </a:t>
            </a:r>
            <a:r>
              <a:rPr lang="es-CL" sz="10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atilidad</a:t>
            </a:r>
          </a:p>
          <a:p>
            <a:pPr marL="1028700" lvl="2" algn="just">
              <a:lnSpc>
                <a:spcPct val="150000"/>
              </a:lnSpc>
            </a:pP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0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r </a:t>
            </a: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s-CL" sz="10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antificar </a:t>
            </a: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de forma correcta las estrategias</a:t>
            </a:r>
          </a:p>
          <a:p>
            <a:pPr marL="628650" lvl="1" indent="-228600" algn="just">
              <a:lnSpc>
                <a:spcPct val="250000"/>
              </a:lnSpc>
              <a:buFont typeface="+mj-lt"/>
              <a:buAutoNum type="arabicPeriod"/>
            </a:pP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Evitar grandes </a:t>
            </a:r>
            <a:r>
              <a:rPr lang="es-CL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wdowns</a:t>
            </a:r>
            <a:r>
              <a:rPr lang="en-US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(1) </a:t>
            </a:r>
            <a:r>
              <a:rPr lang="es-CL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ing de posiciones,</a:t>
            </a:r>
          </a:p>
          <a:p>
            <a:pPr marL="400050" lvl="1" indent="0" algn="just">
              <a:buNone/>
            </a:pPr>
            <a:r>
              <a:rPr lang="es-CL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                   (2) límites sobre las estrategias</a:t>
            </a:r>
          </a:p>
          <a:p>
            <a:pPr marL="400050" lvl="1" indent="0" algn="just">
              <a:buNone/>
            </a:pPr>
            <a:endParaRPr lang="es-CL" sz="1200" b="1" i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 algn="just">
              <a:buNone/>
            </a:pP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3.  Analizar el</a:t>
            </a:r>
            <a:r>
              <a:rPr lang="es-CL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rtamiento</a:t>
            </a:r>
            <a:r>
              <a:rPr lang="es-CL" sz="1200" b="1" i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sistémico del Fondo E de las AFP</a:t>
            </a:r>
            <a:endParaRPr lang="es-CL" sz="1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984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4095993" cy="369332"/>
          </a:xfrm>
        </p:spPr>
        <p:txBody>
          <a:bodyPr/>
          <a:lstStyle/>
          <a:p>
            <a:r>
              <a:rPr lang="es-CL" dirty="0"/>
              <a:t>Fondo E Plus</a:t>
            </a:r>
            <a:r>
              <a:rPr lang="en-US" dirty="0"/>
              <a:t>: </a:t>
            </a:r>
            <a:r>
              <a:rPr lang="en-US" dirty="0" err="1"/>
              <a:t>Presupuesto</a:t>
            </a:r>
            <a:r>
              <a:rPr lang="en-US" dirty="0"/>
              <a:t> de </a:t>
            </a:r>
            <a:r>
              <a:rPr lang="en-US" dirty="0" err="1"/>
              <a:t>Riesgo</a:t>
            </a:r>
            <a:endParaRPr lang="es-CL" dirty="0"/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6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25" name="3 Marcador de contenido"/>
          <p:cNvSpPr txBox="1">
            <a:spLocks/>
          </p:cNvSpPr>
          <p:nvPr/>
        </p:nvSpPr>
        <p:spPr>
          <a:xfrm>
            <a:off x="251520" y="980728"/>
            <a:ext cx="8583810" cy="86409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s-CL" sz="1400" b="1" dirty="0">
                <a:latin typeface="Arial" pitchFamily="34" charset="0"/>
                <a:cs typeface="Arial" pitchFamily="34" charset="0"/>
              </a:rPr>
              <a:t>Asignación de Riesgo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100" dirty="0">
                <a:latin typeface="Arial" panose="020B0604020202020204" pitchFamily="34" charset="0"/>
                <a:cs typeface="Arial" panose="020B0604020202020204" pitchFamily="34" charset="0"/>
              </a:rPr>
              <a:t>Ejemplo de exposición en base a contribución al riesgo</a:t>
            </a:r>
            <a:r>
              <a:rPr lang="es-CL" sz="105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indent="0" algn="just">
              <a:lnSpc>
                <a:spcPct val="150000"/>
              </a:lnSpc>
              <a:buNone/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3983973"/>
              </p:ext>
            </p:extLst>
          </p:nvPr>
        </p:nvGraphicFramePr>
        <p:xfrm>
          <a:off x="539552" y="2044258"/>
          <a:ext cx="3695700" cy="3224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573114"/>
              </p:ext>
            </p:extLst>
          </p:nvPr>
        </p:nvGraphicFramePr>
        <p:xfrm>
          <a:off x="4139952" y="2060848"/>
          <a:ext cx="3695700" cy="3224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1 CuadroTexto"/>
          <p:cNvSpPr txBox="1"/>
          <p:nvPr/>
        </p:nvSpPr>
        <p:spPr>
          <a:xfrm>
            <a:off x="1547664" y="5373216"/>
            <a:ext cx="11737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ici</a:t>
            </a:r>
            <a:r>
              <a:rPr lang="es-CL" sz="1600" dirty="0" err="1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n</a:t>
            </a:r>
            <a:endParaRPr lang="es-CL" sz="1600" dirty="0">
              <a:solidFill>
                <a:srgbClr val="597B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788024" y="5363924"/>
            <a:ext cx="22445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600" dirty="0">
                <a:solidFill>
                  <a:srgbClr val="597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ción al Riesgo</a:t>
            </a:r>
          </a:p>
        </p:txBody>
      </p:sp>
    </p:spTree>
    <p:extLst>
      <p:ext uri="{BB962C8B-B14F-4D97-AF65-F5344CB8AC3E}">
        <p14:creationId xmlns:p14="http://schemas.microsoft.com/office/powerpoint/2010/main" val="1013703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2634054" cy="369332"/>
          </a:xfrm>
        </p:spPr>
        <p:txBody>
          <a:bodyPr/>
          <a:lstStyle/>
          <a:p>
            <a:r>
              <a:rPr lang="es-CL" dirty="0"/>
              <a:t>Fondo E Plus: Filosofía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7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25" name="3 Marcador de contenido"/>
          <p:cNvSpPr txBox="1">
            <a:spLocks/>
          </p:cNvSpPr>
          <p:nvPr/>
        </p:nvSpPr>
        <p:spPr>
          <a:xfrm>
            <a:off x="251520" y="980728"/>
            <a:ext cx="8583810" cy="432048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s-CL" sz="1400" b="1" dirty="0">
                <a:latin typeface="Arial" pitchFamily="34" charset="0"/>
                <a:cs typeface="Arial" pitchFamily="34" charset="0"/>
              </a:rPr>
              <a:t>Ejemplo de Asignación de Riesgo en Fondo IMT E Plus</a:t>
            </a:r>
            <a:r>
              <a:rPr lang="en-US" sz="1400" b="1" dirty="0">
                <a:latin typeface="Arial" pitchFamily="34" charset="0"/>
                <a:cs typeface="Arial" pitchFamily="34" charset="0"/>
              </a:rPr>
              <a:t>:</a:t>
            </a:r>
            <a:endParaRPr lang="es-CL" sz="1400" b="1" dirty="0">
              <a:latin typeface="Arial" pitchFamily="34" charset="0"/>
              <a:cs typeface="Arial" pitchFamily="34" charset="0"/>
            </a:endParaRPr>
          </a:p>
          <a:p>
            <a:pPr marL="457200" lvl="1" indent="0" algn="just">
              <a:lnSpc>
                <a:spcPct val="150000"/>
              </a:lnSpc>
              <a:buNone/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 algn="just">
              <a:lnSpc>
                <a:spcPct val="150000"/>
              </a:lnSpc>
              <a:buNone/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indent="0" algn="just">
              <a:lnSpc>
                <a:spcPct val="150000"/>
              </a:lnSpc>
              <a:buNone/>
            </a:pPr>
            <a:endParaRPr lang="es-C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162712"/>
              </p:ext>
            </p:extLst>
          </p:nvPr>
        </p:nvGraphicFramePr>
        <p:xfrm>
          <a:off x="971600" y="1556794"/>
          <a:ext cx="7056783" cy="4104451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117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8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4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772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81052">
                <a:tc>
                  <a:txBody>
                    <a:bodyPr/>
                    <a:lstStyle/>
                    <a:p>
                      <a:pPr algn="l" fontAlgn="b"/>
                      <a:endParaRPr lang="es-CL" sz="1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e de Activo</a:t>
                      </a:r>
                      <a:endParaRPr lang="es-CL" sz="1100" b="0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atilidad (anualizada)</a:t>
                      </a:r>
                      <a:endParaRPr lang="es-CL" sz="1100" b="0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 quiero tomar un 20% del presupuesto de riesgo, ¿qué % nominal necesito?</a:t>
                      </a:r>
                      <a:endParaRPr lang="es-CL" sz="1100" b="0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97B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725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ósitos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sos</a:t>
                      </a:r>
                      <a:r>
                        <a:rPr lang="es-CL" sz="1000" b="1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4%</a:t>
                      </a:r>
                      <a:endParaRPr lang="es-CL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1%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619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F</a:t>
                      </a:r>
                      <a:r>
                        <a:rPr lang="es-CL" sz="1000" b="1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4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1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725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no</a:t>
                      </a:r>
                      <a:r>
                        <a:rPr lang="es-CL" sz="110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 en Pesos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4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,5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7256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7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9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619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5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2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725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nos en UF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2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6%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7256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5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4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9619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1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725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lación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8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7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9619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Y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3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1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725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C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edas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PBRL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19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7256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PCOP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30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7256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PMXN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05%</a:t>
                      </a:r>
                      <a:endParaRPr lang="es-CL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9619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PUSD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33%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%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5793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107504" y="404664"/>
            <a:ext cx="2800767" cy="369332"/>
          </a:xfrm>
        </p:spPr>
        <p:txBody>
          <a:bodyPr/>
          <a:lstStyle/>
          <a:p>
            <a:r>
              <a:rPr lang="es-CL" dirty="0"/>
              <a:t>Fondos E Plus: Resumen</a:t>
            </a:r>
          </a:p>
        </p:txBody>
      </p:sp>
      <p:sp>
        <p:nvSpPr>
          <p:cNvPr id="82" name="25 Marcador de número de diapositiva"/>
          <p:cNvSpPr>
            <a:spLocks noGrp="1"/>
          </p:cNvSpPr>
          <p:nvPr/>
        </p:nvSpPr>
        <p:spPr bwMode="auto">
          <a:xfrm>
            <a:off x="35496" y="6175722"/>
            <a:ext cx="715962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marL="0" algn="r" defTabSz="914400" rtl="0" eaLnBrk="1" latinLnBrk="0" hangingPunct="1">
              <a:defRPr sz="1000" b="1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3D42E0F-2681-4BBA-89E4-0011F8CEC333}" type="slidenum">
              <a:rPr lang="es-ES" smtClean="0">
                <a:solidFill>
                  <a:srgbClr val="597B7C"/>
                </a:solidFill>
              </a:rPr>
              <a:pPr algn="l"/>
              <a:t>8</a:t>
            </a:fld>
            <a:endParaRPr lang="es-ES" dirty="0">
              <a:solidFill>
                <a:srgbClr val="597B7C"/>
              </a:solidFill>
            </a:endParaRPr>
          </a:p>
        </p:txBody>
      </p:sp>
      <p:sp>
        <p:nvSpPr>
          <p:cNvPr id="25" name="3 Marcador de contenido"/>
          <p:cNvSpPr txBox="1">
            <a:spLocks/>
          </p:cNvSpPr>
          <p:nvPr/>
        </p:nvSpPr>
        <p:spPr>
          <a:xfrm>
            <a:off x="251520" y="980728"/>
            <a:ext cx="8583810" cy="483495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597B7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Objetivo de Inversión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latin typeface="Arial" panose="020B0604020202020204" pitchFamily="34" charset="0"/>
                <a:cs typeface="Arial" panose="020B0604020202020204" pitchFamily="34" charset="0"/>
              </a:rPr>
              <a:t>Ofrecer una alternativa de inversión en estrategias de retorno absoluto que genere exceso de rentabilidad comparado con el Fondo E de las AFP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endParaRPr lang="es-CL" sz="1050" b="1" dirty="0">
              <a:solidFill>
                <a:srgbClr val="E87D1E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r>
              <a:rPr lang="es-CL" sz="1100" b="1" dirty="0">
                <a:latin typeface="Arial" pitchFamily="34" charset="0"/>
                <a:cs typeface="Arial" pitchFamily="34" charset="0"/>
              </a:rPr>
              <a:t>Estrategia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50" dirty="0">
                <a:latin typeface="Arial" panose="020B0604020202020204" pitchFamily="34" charset="0"/>
                <a:cs typeface="Arial" panose="020B0604020202020204" pitchFamily="34" charset="0"/>
              </a:rPr>
              <a:t>Aprovechar de una administración más dinámica y flexible, sumada a un proceso disciplinado de inversión basada en factores de riesgo como motores del retorno diferencial.</a:t>
            </a:r>
          </a:p>
          <a:p>
            <a:pPr marL="180975" indent="0" algn="just">
              <a:lnSpc>
                <a:spcPct val="150000"/>
              </a:lnSpc>
              <a:buClr>
                <a:srgbClr val="E87D1E"/>
              </a:buClr>
              <a:buNone/>
            </a:pPr>
            <a:endParaRPr lang="es-CL" sz="1000" b="1" dirty="0">
              <a:solidFill>
                <a:srgbClr val="E87D1E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r>
              <a:rPr lang="es-CL" sz="1100" b="1" dirty="0">
                <a:latin typeface="Arial" pitchFamily="34" charset="0"/>
                <a:cs typeface="Arial" pitchFamily="34" charset="0"/>
              </a:rPr>
              <a:t>Filosofía: Pensamos en Factores de Riesgo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Realizamos nuestro posicionamiento en base a la contribución al objetivo de riesgo.</a:t>
            </a:r>
          </a:p>
          <a:p>
            <a:pPr marL="352425" indent="-171450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Gestionar en riesgo nos permite:</a:t>
            </a:r>
          </a:p>
          <a:p>
            <a:pPr lvl="1" indent="-114300" algn="just">
              <a:lnSpc>
                <a:spcPct val="150000"/>
              </a:lnSpc>
              <a:buClr>
                <a:srgbClr val="597B7C"/>
              </a:buClr>
              <a:buFont typeface="Arial" panose="020B0604020202020204" pitchFamily="34" charset="0"/>
              <a:buChar char="•"/>
            </a:pPr>
            <a:r>
              <a:rPr lang="es-CL" sz="1000" b="1" dirty="0">
                <a:solidFill>
                  <a:srgbClr val="E87D1E"/>
                </a:solidFill>
                <a:latin typeface="Arial" pitchFamily="34" charset="0"/>
                <a:cs typeface="Arial" pitchFamily="34" charset="0"/>
              </a:rPr>
              <a:t>Controlar y monitorear el riesgo de forma continua</a:t>
            </a:r>
            <a:r>
              <a:rPr lang="es-CL" sz="1000" dirty="0">
                <a:latin typeface="Arial" pitchFamily="34" charset="0"/>
                <a:cs typeface="Arial" pitchFamily="34" charset="0"/>
              </a:rPr>
              <a:t>. Entregar a los clientes un producto adecuado en base al riesgo que quieran asumir.</a:t>
            </a:r>
          </a:p>
          <a:p>
            <a:pPr lvl="1" indent="-114300" algn="just">
              <a:lnSpc>
                <a:spcPct val="150000"/>
              </a:lnSpc>
              <a:buClr>
                <a:srgbClr val="597B7C"/>
              </a:buClr>
              <a:buFont typeface="Arial" panose="020B0604020202020204" pitchFamily="34" charset="0"/>
              <a:buChar char="•"/>
            </a:pPr>
            <a:r>
              <a:rPr lang="es-CL" sz="1000" b="1" dirty="0">
                <a:solidFill>
                  <a:srgbClr val="E87D1E"/>
                </a:solidFill>
                <a:latin typeface="Arial" pitchFamily="34" charset="0"/>
                <a:cs typeface="Arial" pitchFamily="34" charset="0"/>
              </a:rPr>
              <a:t>Comparar y cuantificar </a:t>
            </a:r>
            <a:r>
              <a:rPr lang="es-CL" sz="1000" dirty="0">
                <a:latin typeface="Arial" pitchFamily="34" charset="0"/>
                <a:cs typeface="Arial" pitchFamily="34" charset="0"/>
              </a:rPr>
              <a:t>de forma correcta las distintas posiciones del fondo,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es-CL" sz="1100" b="1" dirty="0">
                <a:latin typeface="Arial" pitchFamily="34" charset="0"/>
                <a:cs typeface="Arial" pitchFamily="34" charset="0"/>
              </a:rPr>
              <a:t>Implementación</a:t>
            </a:r>
          </a:p>
          <a:p>
            <a:pPr indent="-161925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La ejecución de esta estrategia se hará en activos de alta liquidez. Fundamental para</a:t>
            </a:r>
            <a:r>
              <a:rPr lang="es-CL" sz="1000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L" sz="10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r estrategia, evitar grandes </a:t>
            </a:r>
            <a:r>
              <a:rPr lang="es-CL" sz="1000" b="1" i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wdowns</a:t>
            </a: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-161925" algn="just">
              <a:lnSpc>
                <a:spcPct val="150000"/>
              </a:lnSpc>
              <a:buClr>
                <a:srgbClr val="E87D1E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Set de activos elegibles amplios y des correlacionado, pero donde tengamos cobertura,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expertise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y research como compañía: </a:t>
            </a:r>
            <a:r>
              <a:rPr lang="es-CL" sz="1000" b="1" dirty="0">
                <a:solidFill>
                  <a:srgbClr val="E87D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Am</a:t>
            </a:r>
            <a:r>
              <a:rPr lang="es-CL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 indent="-1143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CL" sz="1000" dirty="0">
                <a:latin typeface="Arial" pitchFamily="34" charset="0"/>
                <a:cs typeface="Arial" pitchFamily="34" charset="0"/>
              </a:rPr>
              <a:t>No se invertirá en activos donde no haya un proceso de cobertura exhaustivo y disciplinado.</a:t>
            </a:r>
            <a:endParaRPr lang="es-CL" sz="1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endParaRPr lang="es-CL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182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2 Marcador de contenido"/>
          <p:cNvSpPr>
            <a:spLocks noGrp="1"/>
          </p:cNvSpPr>
          <p:nvPr>
            <p:ph sz="half" idx="13"/>
          </p:nvPr>
        </p:nvSpPr>
        <p:spPr bwMode="auto">
          <a:xfrm>
            <a:off x="563563" y="2979737"/>
            <a:ext cx="4656137" cy="4492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pPr eaLnBrk="1" hangingPunct="1"/>
            <a:r>
              <a:rPr lang="es-CL" dirty="0">
                <a:solidFill>
                  <a:srgbClr val="597B7C"/>
                </a:solidFill>
              </a:rPr>
              <a:t>Estructura y Performance Fondo IMT E Plus</a:t>
            </a:r>
          </a:p>
        </p:txBody>
      </p:sp>
      <p:sp>
        <p:nvSpPr>
          <p:cNvPr id="3" name="7 Marcador de contenido"/>
          <p:cNvSpPr>
            <a:spLocks noGrp="1"/>
          </p:cNvSpPr>
          <p:nvPr/>
        </p:nvSpPr>
        <p:spPr>
          <a:xfrm>
            <a:off x="6684306" y="2852936"/>
            <a:ext cx="4656446" cy="44923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b="0" i="0" kern="1200" baseline="0">
                <a:solidFill>
                  <a:srgbClr val="CE611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3800" dirty="0">
                <a:solidFill>
                  <a:srgbClr val="597B7C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61451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a8uTtE2cq_55.DJ_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hU7cywXEK9yvXlDEPj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EkYRr42U6HT4yDKkgv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J5j2aHS0CmsRfgMIqG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U5bDjH3k6oS4UGDoah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dOSBcrpU6deK8ZX7nB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Ud8Npj50i4vB3y28Zx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a8uTtE2cq_55.DJ_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EkYRr42U6HT4yDKkgv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dOSBcrpU6deK8ZX7nB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hOITRnkGbJT_xj8pL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a8uTtE2cq_55.DJ_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a8uTtE2cq_55.DJ_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U5bDjH3k6oS4UGDoah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dOSBcrpU6deK8ZX7nB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dOSBcrpU6deK8ZX7nB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uMy5B23EiSN8pXhM0u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a8uTtE2cq_55.DJ_hg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redicorp Capital - Excel">
    <a:dk1>
      <a:sysClr val="windowText" lastClr="000000"/>
    </a:dk1>
    <a:lt1>
      <a:sysClr val="window" lastClr="FFFFFF"/>
    </a:lt1>
    <a:dk2>
      <a:srgbClr val="597B7C"/>
    </a:dk2>
    <a:lt2>
      <a:srgbClr val="E87D1E"/>
    </a:lt2>
    <a:accent1>
      <a:srgbClr val="9BB0B0"/>
    </a:accent1>
    <a:accent2>
      <a:srgbClr val="EDBE86"/>
    </a:accent2>
    <a:accent3>
      <a:srgbClr val="C3D0D0"/>
    </a:accent3>
    <a:accent4>
      <a:srgbClr val="597B7C"/>
    </a:accent4>
    <a:accent5>
      <a:srgbClr val="CD6E19"/>
    </a:accent5>
    <a:accent6>
      <a:srgbClr val="8D5615"/>
    </a:accent6>
    <a:hlink>
      <a:srgbClr val="B09585"/>
    </a:hlink>
    <a:folHlink>
      <a:srgbClr val="E84F03"/>
    </a:folHlink>
  </a:clrScheme>
  <a:fontScheme name="Credicorp Capital - Excel">
    <a:majorFont>
      <a:latin typeface="Arial Narrow"/>
      <a:ea typeface=""/>
      <a:cs typeface=""/>
    </a:majorFont>
    <a:minorFont>
      <a:latin typeface="Arial"/>
      <a:ea typeface=""/>
      <a:cs typeface=""/>
    </a:minorFont>
  </a:fontScheme>
  <a:fmtScheme name="Concurrencia">
    <a:fillStyleLst>
      <a:solidFill>
        <a:schemeClr val="phClr"/>
      </a:solidFill>
      <a:gradFill rotWithShape="1">
        <a:gsLst>
          <a:gs pos="0">
            <a:schemeClr val="phClr">
              <a:tint val="62000"/>
              <a:satMod val="180000"/>
            </a:schemeClr>
          </a:gs>
          <a:gs pos="65000">
            <a:schemeClr val="phClr">
              <a:tint val="32000"/>
              <a:satMod val="250000"/>
            </a:schemeClr>
          </a:gs>
          <a:gs pos="100000">
            <a:schemeClr val="phClr">
              <a:tint val="23000"/>
              <a:satMod val="300000"/>
            </a:schemeClr>
          </a:gs>
        </a:gsLst>
        <a:lin ang="16200000" scaled="0"/>
      </a:gradFill>
      <a:gradFill rotWithShape="1">
        <a:gsLst>
          <a:gs pos="0">
            <a:schemeClr val="phClr">
              <a:shade val="15000"/>
              <a:satMod val="180000"/>
            </a:schemeClr>
          </a:gs>
          <a:gs pos="50000">
            <a:schemeClr val="phClr">
              <a:shade val="45000"/>
              <a:satMod val="170000"/>
            </a:schemeClr>
          </a:gs>
          <a:gs pos="70000">
            <a:schemeClr val="phClr">
              <a:tint val="99000"/>
              <a:shade val="65000"/>
              <a:satMod val="155000"/>
            </a:schemeClr>
          </a:gs>
          <a:gs pos="100000">
            <a:schemeClr val="phClr">
              <a:tint val="95500"/>
              <a:shade val="100000"/>
              <a:satMod val="15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/>
        </a:solidFill>
        <a:prstDash val="solid"/>
      </a:ln>
      <a:ln w="55000" cap="flat" cmpd="thickThin" algn="ctr">
        <a:solidFill>
          <a:schemeClr val="phClr"/>
        </a:solidFill>
        <a:prstDash val="solid"/>
      </a:ln>
      <a:ln w="63500" cap="flat" cmpd="thickThin" algn="ctr">
        <a:solidFill>
          <a:schemeClr val="phClr"/>
        </a:solidFill>
        <a:prstDash val="solid"/>
      </a:ln>
    </a:lnStyleLst>
    <a:effectStyleLst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phClr">
              <a:satMod val="30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redicorp Capital - Excel">
    <a:dk1>
      <a:sysClr val="windowText" lastClr="000000"/>
    </a:dk1>
    <a:lt1>
      <a:sysClr val="window" lastClr="FFFFFF"/>
    </a:lt1>
    <a:dk2>
      <a:srgbClr val="597B7C"/>
    </a:dk2>
    <a:lt2>
      <a:srgbClr val="E87D1E"/>
    </a:lt2>
    <a:accent1>
      <a:srgbClr val="9BB0B0"/>
    </a:accent1>
    <a:accent2>
      <a:srgbClr val="EDBE86"/>
    </a:accent2>
    <a:accent3>
      <a:srgbClr val="C3D0D0"/>
    </a:accent3>
    <a:accent4>
      <a:srgbClr val="597B7C"/>
    </a:accent4>
    <a:accent5>
      <a:srgbClr val="CD6E19"/>
    </a:accent5>
    <a:accent6>
      <a:srgbClr val="8D5615"/>
    </a:accent6>
    <a:hlink>
      <a:srgbClr val="B09585"/>
    </a:hlink>
    <a:folHlink>
      <a:srgbClr val="E84F03"/>
    </a:folHlink>
  </a:clrScheme>
  <a:fontScheme name="Credicorp Capital - Excel">
    <a:majorFont>
      <a:latin typeface="Arial Narrow"/>
      <a:ea typeface=""/>
      <a:cs typeface=""/>
    </a:majorFont>
    <a:minorFont>
      <a:latin typeface="Arial"/>
      <a:ea typeface=""/>
      <a:cs typeface=""/>
    </a:minorFont>
  </a:fontScheme>
  <a:fmtScheme name="Concurrencia">
    <a:fillStyleLst>
      <a:solidFill>
        <a:schemeClr val="phClr"/>
      </a:solidFill>
      <a:gradFill rotWithShape="1">
        <a:gsLst>
          <a:gs pos="0">
            <a:schemeClr val="phClr">
              <a:tint val="62000"/>
              <a:satMod val="180000"/>
            </a:schemeClr>
          </a:gs>
          <a:gs pos="65000">
            <a:schemeClr val="phClr">
              <a:tint val="32000"/>
              <a:satMod val="250000"/>
            </a:schemeClr>
          </a:gs>
          <a:gs pos="100000">
            <a:schemeClr val="phClr">
              <a:tint val="23000"/>
              <a:satMod val="300000"/>
            </a:schemeClr>
          </a:gs>
        </a:gsLst>
        <a:lin ang="16200000" scaled="0"/>
      </a:gradFill>
      <a:gradFill rotWithShape="1">
        <a:gsLst>
          <a:gs pos="0">
            <a:schemeClr val="phClr">
              <a:shade val="15000"/>
              <a:satMod val="180000"/>
            </a:schemeClr>
          </a:gs>
          <a:gs pos="50000">
            <a:schemeClr val="phClr">
              <a:shade val="45000"/>
              <a:satMod val="170000"/>
            </a:schemeClr>
          </a:gs>
          <a:gs pos="70000">
            <a:schemeClr val="phClr">
              <a:tint val="99000"/>
              <a:shade val="65000"/>
              <a:satMod val="155000"/>
            </a:schemeClr>
          </a:gs>
          <a:gs pos="100000">
            <a:schemeClr val="phClr">
              <a:tint val="95500"/>
              <a:shade val="100000"/>
              <a:satMod val="15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/>
        </a:solidFill>
        <a:prstDash val="solid"/>
      </a:ln>
      <a:ln w="55000" cap="flat" cmpd="thickThin" algn="ctr">
        <a:solidFill>
          <a:schemeClr val="phClr"/>
        </a:solidFill>
        <a:prstDash val="solid"/>
      </a:ln>
      <a:ln w="63500" cap="flat" cmpd="thickThin" algn="ctr">
        <a:solidFill>
          <a:schemeClr val="phClr"/>
        </a:solidFill>
        <a:prstDash val="solid"/>
      </a:ln>
    </a:lnStyleLst>
    <a:effectStyleLst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phClr">
              <a:satMod val="30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93</TotalTime>
  <Words>1009</Words>
  <Application>Microsoft Office PowerPoint</Application>
  <PresentationFormat>Presentación en pantalla (4:3)</PresentationFormat>
  <Paragraphs>277</Paragraphs>
  <Slides>16</Slides>
  <Notes>9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6</vt:i4>
      </vt:variant>
    </vt:vector>
  </HeadingPairs>
  <TitlesOfParts>
    <vt:vector size="23" baseType="lpstr">
      <vt:lpstr>Arial</vt:lpstr>
      <vt:lpstr>Calibri</vt:lpstr>
      <vt:lpstr>Myriad Pro</vt:lpstr>
      <vt:lpstr>Verdana</vt:lpstr>
      <vt:lpstr>Wingdings</vt:lpstr>
      <vt:lpstr>1_Tema de Office</vt:lpstr>
      <vt:lpstr>Diseño personalizado</vt:lpstr>
      <vt:lpstr>Presentación de PowerPoint</vt:lpstr>
      <vt:lpstr>Presentación de PowerPoint</vt:lpstr>
      <vt:lpstr>Presentación de PowerPoint</vt:lpstr>
      <vt:lpstr>Fondo E Plus: Descripción y Objetivo</vt:lpstr>
      <vt:lpstr>Fondo E Plus: Pensamos en Factores</vt:lpstr>
      <vt:lpstr>Fondo E Plus: Presupuesto de Riesgo</vt:lpstr>
      <vt:lpstr>Fondo E Plus: Filosofía</vt:lpstr>
      <vt:lpstr>Fondos E Plus: Resumen</vt:lpstr>
      <vt:lpstr>Presentación de PowerPoint</vt:lpstr>
      <vt:lpstr>Composición del Fondo</vt:lpstr>
      <vt:lpstr>Presentación de PowerPoint</vt:lpstr>
      <vt:lpstr>Presentación de PowerPoint</vt:lpstr>
      <vt:lpstr>Proceso de Inversión</vt:lpstr>
      <vt:lpstr>Proceso de Inversión</vt:lpstr>
      <vt:lpstr>Proceso de Inversión: Disciplina como factor central</vt:lpstr>
      <vt:lpstr>Presentación de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vo Kovacevic Buvinic</dc:creator>
  <cp:lastModifiedBy>Diego Posch Ponce</cp:lastModifiedBy>
  <cp:revision>455</cp:revision>
  <cp:lastPrinted>2016-03-14T13:35:05Z</cp:lastPrinted>
  <dcterms:created xsi:type="dcterms:W3CDTF">2015-07-27T20:00:47Z</dcterms:created>
  <dcterms:modified xsi:type="dcterms:W3CDTF">2018-05-14T21:33:59Z</dcterms:modified>
</cp:coreProperties>
</file>